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media/image6.jpg" ContentType="image/png"/>
  <Override PartName="/ppt/commentAuthors.xml" ContentType="application/vnd.openxmlformats-officedocument.presentationml.commentAuthors+xml"/>
  <Override PartName="/ppt/theme/theme3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3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56" r:id="rId2"/>
    <p:sldId id="264" r:id="rId3"/>
    <p:sldId id="265" r:id="rId4"/>
    <p:sldId id="257" r:id="rId5"/>
    <p:sldId id="259" r:id="rId6"/>
    <p:sldId id="281" r:id="rId7"/>
    <p:sldId id="263" r:id="rId8"/>
  </p:sldIdLst>
  <p:sldSz cx="9144000" cy="6858000" type="screen4x3"/>
  <p:notesSz cx="6858000" cy="9144000"/>
  <p:custDataLst>
    <p:tags r:id="rId1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020">
          <p15:clr>
            <a:srgbClr val="A4A3A4"/>
          </p15:clr>
        </p15:guide>
        <p15:guide id="2" orient="horz" pos="922">
          <p15:clr>
            <a:srgbClr val="A4A3A4"/>
          </p15:clr>
        </p15:guide>
        <p15:guide id="3" orient="horz" pos="1162" userDrawn="1">
          <p15:clr>
            <a:srgbClr val="A4A3A4"/>
          </p15:clr>
        </p15:guide>
        <p15:guide id="4" orient="horz" pos="4224">
          <p15:clr>
            <a:srgbClr val="A4A3A4"/>
          </p15:clr>
        </p15:guide>
        <p15:guide id="5" pos="2880">
          <p15:clr>
            <a:srgbClr val="A4A3A4"/>
          </p15:clr>
        </p15:guide>
        <p15:guide id="6" pos="295">
          <p15:clr>
            <a:srgbClr val="A4A3A4"/>
          </p15:clr>
        </p15:guide>
        <p15:guide id="7" pos="5465">
          <p15:clr>
            <a:srgbClr val="A4A3A4"/>
          </p15:clr>
        </p15:guide>
        <p15:guide id="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unha, Pablo Salino" initials="CPS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88DD00"/>
    <a:srgbClr val="AA1133"/>
    <a:srgbClr val="002266"/>
    <a:srgbClr val="66AA44"/>
    <a:srgbClr val="992222"/>
    <a:srgbClr val="DD4411"/>
    <a:srgbClr val="551155"/>
    <a:srgbClr val="FF9900"/>
    <a:srgbClr val="00BB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6" autoAdjust="0"/>
    <p:restoredTop sz="95683" autoAdjust="0"/>
  </p:normalViewPr>
  <p:slideViewPr>
    <p:cSldViewPr snapToObjects="1" showGuides="1">
      <p:cViewPr>
        <p:scale>
          <a:sx n="80" d="100"/>
          <a:sy n="80" d="100"/>
        </p:scale>
        <p:origin x="-1014" y="48"/>
      </p:cViewPr>
      <p:guideLst>
        <p:guide orient="horz" pos="4020"/>
        <p:guide orient="horz" pos="922"/>
        <p:guide orient="horz" pos="1162"/>
        <p:guide orient="horz" pos="4224"/>
        <p:guide pos="2880"/>
        <p:guide pos="295"/>
        <p:guide pos="5465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87" d="100"/>
          <a:sy n="87" d="100"/>
        </p:scale>
        <p:origin x="-3738" y="-7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17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19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9731B9-D2D4-4D43-8CBF-D0184DDEB7D7}" type="datetimeFigureOut">
              <a:rPr lang="en-AU" smtClean="0"/>
              <a:t>7/04/2016</a:t>
            </a:fld>
            <a:endParaRPr lang="en-A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2A0147-0BBB-4754-93D4-F4A2B787A1C7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55195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85800" y="0"/>
            <a:ext cx="2286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287587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77416" y="336612"/>
            <a:ext cx="5503168" cy="412737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572000"/>
            <a:ext cx="5486400" cy="38862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85800" y="8685213"/>
            <a:ext cx="2286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004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5053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42900"/>
            <a:ext cx="5486400" cy="4114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400" cy="3886200"/>
          </a:xfrm>
        </p:spPr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AU" dirty="0" smtClean="0"/>
              <a:t>As</a:t>
            </a:r>
            <a:r>
              <a:rPr lang="en-AU" baseline="0" dirty="0" smtClean="0"/>
              <a:t> you build your presentation, be sure to leverage the Quick Presentation Toolkit PowerPoint add-in. </a:t>
            </a:r>
            <a:r>
              <a:rPr lang="en-AU" baseline="0" smtClean="0"/>
              <a:t>(www.QPT.Accenture.com) to save you time and help you build better slides</a:t>
            </a:r>
            <a:endParaRPr lang="en-AU" smtClean="0"/>
          </a:p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17812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77863" y="336550"/>
            <a:ext cx="5502275" cy="41275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8873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77863" y="336550"/>
            <a:ext cx="5502275" cy="41275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30059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77863" y="336550"/>
            <a:ext cx="5502275" cy="41275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9677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image" Target="../media/image1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1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1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\\JBWServer\Shared\Clients\Presentations\Accenture\Amanda Hayes - 12-1487 - PPT Template Change\Working Files\Photoshop\Bubble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519" y="829146"/>
            <a:ext cx="2528887" cy="151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auto">
          <a:xfrm>
            <a:off x="458788" y="2211415"/>
            <a:ext cx="4113212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tx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de-DE" dirty="0" smtClean="0"/>
              <a:t>Click to edit master title styles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auto">
          <a:xfrm>
            <a:off x="461963" y="3307392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Click to edit master text styles</a:t>
            </a:r>
            <a:endParaRPr lang="de-DE" dirty="0"/>
          </a:p>
        </p:txBody>
      </p:sp>
      <p:cxnSp>
        <p:nvCxnSpPr>
          <p:cNvPr id="26" name="Straight Connector 9"/>
          <p:cNvCxnSpPr>
            <a:cxnSpLocks noChangeShapeType="1"/>
          </p:cNvCxnSpPr>
          <p:nvPr userDrawn="1"/>
        </p:nvCxnSpPr>
        <p:spPr bwMode="auto">
          <a:xfrm>
            <a:off x="496888" y="1102300"/>
            <a:ext cx="86471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grpSp>
        <p:nvGrpSpPr>
          <p:cNvPr id="28" name="Group 22"/>
          <p:cNvGrpSpPr/>
          <p:nvPr userDrawn="1"/>
        </p:nvGrpSpPr>
        <p:grpSpPr>
          <a:xfrm>
            <a:off x="495299" y="312167"/>
            <a:ext cx="2183716" cy="635721"/>
            <a:chOff x="459321" y="5788818"/>
            <a:chExt cx="2183716" cy="635721"/>
          </a:xfrm>
        </p:grpSpPr>
        <p:pic>
          <p:nvPicPr>
            <p:cNvPr id="29" name="Picture 2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30" name="Freeform 30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grpSp>
        <p:nvGrpSpPr>
          <p:cNvPr id="32" name="Group 19"/>
          <p:cNvGrpSpPr/>
          <p:nvPr userDrawn="1"/>
        </p:nvGrpSpPr>
        <p:grpSpPr>
          <a:xfrm>
            <a:off x="5633931" y="1664905"/>
            <a:ext cx="3074395" cy="2060440"/>
            <a:chOff x="5701703" y="682760"/>
            <a:chExt cx="3074395" cy="2060440"/>
          </a:xfrm>
        </p:grpSpPr>
        <p:sp>
          <p:nvSpPr>
            <p:cNvPr id="33" name="Freeform 20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34" name="Picture 2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edit Master title style</a:t>
            </a:r>
            <a:endParaRPr lang="de-DE" dirty="0"/>
          </a:p>
        </p:txBody>
      </p:sp>
    </p:spTree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edit Master title style</a:t>
            </a:r>
            <a:endParaRPr lang="de-DE" dirty="0"/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noProof="0" dirty="0" smtClean="0"/>
              <a:t>Click to edit Master text style</a:t>
            </a:r>
          </a:p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smtClean="0"/>
              <a:t>Click to edit Master text style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edit Master title style</a:t>
            </a:r>
            <a:endParaRPr lang="de-DE" dirty="0"/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edit Master title style</a:t>
            </a:r>
            <a:endParaRPr lang="de-DE" dirty="0"/>
          </a:p>
        </p:txBody>
      </p:sp>
    </p:spTree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\\JBWServer\Shared\Clients\Presentations\Accenture\Amanda Hayes - 12-1487 - PPT Template Change\Working Files\Photoshop\Bubble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 bwMode="white"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tx1"/>
                </a:solidFill>
                <a:latin typeface="Arial"/>
              </a:defRPr>
            </a:lvl1pPr>
          </a:lstStyle>
          <a:p>
            <a:r>
              <a:rPr lang="en-US" noProof="0" dirty="0" smtClean="0"/>
              <a:t>Click to edit master title styles</a:t>
            </a:r>
            <a:endParaRPr lang="de-DE" dirty="0"/>
          </a:p>
        </p:txBody>
      </p:sp>
      <p:sp>
        <p:nvSpPr>
          <p:cNvPr id="9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2015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\\JBWServer\Shared\Clients\Presentations\Accenture\Amanda Hayes - 12-1487 - PPT Template Change\Working Files\Photoshop\Bubble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 hasCustomPrompt="1"/>
          </p:nvPr>
        </p:nvSpPr>
        <p:spPr bwMode="auto">
          <a:xfrm>
            <a:off x="468313" y="2924944"/>
            <a:ext cx="8207375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1"/>
                </a:solidFill>
                <a:latin typeface="Arial"/>
              </a:defRPr>
            </a:lvl1pPr>
          </a:lstStyle>
          <a:p>
            <a:r>
              <a:rPr lang="en-US" noProof="0" dirty="0" smtClean="0"/>
              <a:t>Click to edit master title styles</a:t>
            </a:r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2015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\\JBWServer\Shared\Clients\Presentations\Accenture\Amanda Hayes - 12-1487 - PPT Template Change\Working Files\Photoshop\Bubble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 hasCustomPrompt="1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en-US" noProof="0" smtClean="0"/>
              <a:t>Click to edit master title styles</a:t>
            </a:r>
            <a:endParaRPr lang="en-US" noProof="0" dirty="0"/>
          </a:p>
        </p:txBody>
      </p:sp>
      <p:sp>
        <p:nvSpPr>
          <p:cNvPr id="9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2015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noProof="0" dirty="0" smtClean="0"/>
              <a:t>Click to edit master title styles</a:t>
            </a:r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2015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8313" y="110230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695" r:id="rId2"/>
    <p:sldLayoutId id="2147483705" r:id="rId3"/>
    <p:sldLayoutId id="2147483704" r:id="rId4"/>
    <p:sldLayoutId id="2147483700" r:id="rId5"/>
    <p:sldLayoutId id="2147483703" r:id="rId6"/>
    <p:sldLayoutId id="2147483702" r:id="rId7"/>
    <p:sldLayoutId id="2147483701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dirty="0" err="1" smtClean="0"/>
              <a:t>Análise</a:t>
            </a:r>
            <a:r>
              <a:rPr lang="en-AU" dirty="0" smtClean="0"/>
              <a:t> SIGO</a:t>
            </a:r>
            <a:endParaRPr lang="en-AU" dirty="0"/>
          </a:p>
        </p:txBody>
      </p:sp>
      <p:sp>
        <p:nvSpPr>
          <p:cNvPr id="9" name="Untertitel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smtClean="0"/>
              <a:t>25/01/2016</a:t>
            </a:r>
            <a:endParaRPr lang="en-A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álise do Problema</a:t>
            </a:r>
            <a:endParaRPr lang="de-DE" dirty="0"/>
          </a:p>
        </p:txBody>
      </p:sp>
      <p:sp>
        <p:nvSpPr>
          <p:cNvPr id="7" name="Textplatzhalter 3"/>
          <p:cNvSpPr txBox="1">
            <a:spLocks/>
          </p:cNvSpPr>
          <p:nvPr/>
        </p:nvSpPr>
        <p:spPr>
          <a:xfrm>
            <a:off x="467544" y="1124744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Contexto</a:t>
            </a:r>
            <a:endParaRPr lang="pt-BR" dirty="0"/>
          </a:p>
        </p:txBody>
      </p:sp>
      <p:sp>
        <p:nvSpPr>
          <p:cNvPr id="9" name="TextBox 8"/>
          <p:cNvSpPr txBox="1"/>
          <p:nvPr/>
        </p:nvSpPr>
        <p:spPr>
          <a:xfrm>
            <a:off x="468313" y="1678365"/>
            <a:ext cx="8203443" cy="265802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pt-BR" sz="1200" dirty="0" smtClean="0"/>
              <a:t>CO Campo Grande utiliza SIGO como ferramenta de Workflow em parte da sua operação (majoritariamente células off-line), proporcionando ganho de produtividade e atendimento aos </a:t>
            </a:r>
            <a:r>
              <a:rPr lang="pt-BR" sz="1200" dirty="0" err="1" smtClean="0"/>
              <a:t>SLAs</a:t>
            </a:r>
            <a:endParaRPr lang="pt-BR" sz="1200" dirty="0" smtClean="0"/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pt-BR" sz="1200" dirty="0" smtClean="0"/>
              <a:t>CO RJ e CO PE utilizam ferramentas diferentes para executar atividades similar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pt-BR" sz="1200" dirty="0" smtClean="0"/>
              <a:t>Atualmente Oi tem um custo de licenças mensal com a </a:t>
            </a:r>
            <a:r>
              <a:rPr lang="pt-BR" sz="1200" dirty="0" err="1" smtClean="0"/>
              <a:t>Telemont</a:t>
            </a:r>
            <a:r>
              <a:rPr lang="pt-BR" sz="1200" dirty="0" smtClean="0"/>
              <a:t> para utilização do SIGO no CO Campo Grande. Este custo é proporcional à quantidade de licenças utilizadas</a:t>
            </a:r>
            <a:endParaRPr lang="pt-BR" sz="12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pt-BR" sz="1200" dirty="0" smtClean="0"/>
              <a:t>Oi não é proprietária do código sendo necessário abrir demandas para a </a:t>
            </a:r>
            <a:r>
              <a:rPr lang="pt-BR" sz="1200" dirty="0" err="1" smtClean="0"/>
              <a:t>Telemont</a:t>
            </a:r>
            <a:r>
              <a:rPr lang="pt-BR" sz="1200" dirty="0" smtClean="0"/>
              <a:t> quando alguma evolução é necessária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pt-BR" sz="1200" dirty="0" smtClean="0"/>
              <a:t>Esta é uma análise que procura tirar da Oi a dependência da </a:t>
            </a:r>
            <a:r>
              <a:rPr lang="pt-BR" sz="1200" dirty="0" err="1" smtClean="0"/>
              <a:t>Telemont</a:t>
            </a:r>
            <a:r>
              <a:rPr lang="pt-BR" sz="1200" dirty="0" smtClean="0"/>
              <a:t> e padronizar os processos entre os </a:t>
            </a:r>
            <a:r>
              <a:rPr lang="pt-BR" sz="1200" dirty="0" err="1" smtClean="0"/>
              <a:t>COs</a:t>
            </a:r>
            <a:r>
              <a:rPr lang="pt-BR" sz="1200" dirty="0" smtClean="0"/>
              <a:t> e aumentar a autonomia para o desenvolvimento de melhoria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2600822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álise do Problema</a:t>
            </a:r>
            <a:endParaRPr lang="de-DE" dirty="0"/>
          </a:p>
        </p:txBody>
      </p:sp>
      <p:sp>
        <p:nvSpPr>
          <p:cNvPr id="7" name="Textplatzhalter 3"/>
          <p:cNvSpPr txBox="1">
            <a:spLocks/>
          </p:cNvSpPr>
          <p:nvPr/>
        </p:nvSpPr>
        <p:spPr>
          <a:xfrm>
            <a:off x="467544" y="1124744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Visão Geral do uso de ferramentas nas células off-line</a:t>
            </a:r>
            <a:endParaRPr lang="pt-BR" dirty="0"/>
          </a:p>
        </p:txBody>
      </p:sp>
      <p:sp>
        <p:nvSpPr>
          <p:cNvPr id="3" name="TextBox 2"/>
          <p:cNvSpPr txBox="1"/>
          <p:nvPr/>
        </p:nvSpPr>
        <p:spPr>
          <a:xfrm>
            <a:off x="2051720" y="1551451"/>
            <a:ext cx="475057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pt-BR" sz="1200" b="1" dirty="0" smtClean="0">
                <a:solidFill>
                  <a:srgbClr val="00BBEE"/>
                </a:solidFill>
              </a:rPr>
              <a:t>AS I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688124" y="1551450"/>
            <a:ext cx="541229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pt-BR" sz="1200" b="1" dirty="0" smtClean="0">
                <a:solidFill>
                  <a:srgbClr val="00BBEE"/>
                </a:solidFill>
              </a:rPr>
              <a:t>TO BE</a:t>
            </a:r>
          </a:p>
        </p:txBody>
      </p:sp>
      <p:grpSp>
        <p:nvGrpSpPr>
          <p:cNvPr id="8" name="Group 7"/>
          <p:cNvGrpSpPr/>
          <p:nvPr/>
        </p:nvGrpSpPr>
        <p:grpSpPr bwMode="auto">
          <a:xfrm>
            <a:off x="974581" y="1893234"/>
            <a:ext cx="2693367" cy="2678717"/>
            <a:chOff x="483406" y="1702755"/>
            <a:chExt cx="3847667" cy="3826739"/>
          </a:xfrm>
        </p:grpSpPr>
        <p:sp>
          <p:nvSpPr>
            <p:cNvPr id="9" name="Freeform 46"/>
            <p:cNvSpPr>
              <a:spLocks/>
            </p:cNvSpPr>
            <p:nvPr/>
          </p:nvSpPr>
          <p:spPr bwMode="auto">
            <a:xfrm>
              <a:off x="1218857" y="1702755"/>
              <a:ext cx="594938" cy="657721"/>
            </a:xfrm>
            <a:custGeom>
              <a:avLst/>
              <a:gdLst>
                <a:gd name="T0" fmla="*/ 390 w 398"/>
                <a:gd name="T1" fmla="*/ 334 h 440"/>
                <a:gd name="T2" fmla="*/ 364 w 398"/>
                <a:gd name="T3" fmla="*/ 334 h 440"/>
                <a:gd name="T4" fmla="*/ 336 w 398"/>
                <a:gd name="T5" fmla="*/ 334 h 440"/>
                <a:gd name="T6" fmla="*/ 316 w 398"/>
                <a:gd name="T7" fmla="*/ 360 h 440"/>
                <a:gd name="T8" fmla="*/ 296 w 398"/>
                <a:gd name="T9" fmla="*/ 386 h 440"/>
                <a:gd name="T10" fmla="*/ 290 w 398"/>
                <a:gd name="T11" fmla="*/ 412 h 440"/>
                <a:gd name="T12" fmla="*/ 262 w 398"/>
                <a:gd name="T13" fmla="*/ 396 h 440"/>
                <a:gd name="T14" fmla="*/ 234 w 398"/>
                <a:gd name="T15" fmla="*/ 396 h 440"/>
                <a:gd name="T16" fmla="*/ 216 w 398"/>
                <a:gd name="T17" fmla="*/ 422 h 440"/>
                <a:gd name="T18" fmla="*/ 200 w 398"/>
                <a:gd name="T19" fmla="*/ 440 h 440"/>
                <a:gd name="T20" fmla="*/ 174 w 398"/>
                <a:gd name="T21" fmla="*/ 422 h 440"/>
                <a:gd name="T22" fmla="*/ 160 w 398"/>
                <a:gd name="T23" fmla="*/ 386 h 440"/>
                <a:gd name="T24" fmla="*/ 160 w 398"/>
                <a:gd name="T25" fmla="*/ 352 h 440"/>
                <a:gd name="T26" fmla="*/ 160 w 398"/>
                <a:gd name="T27" fmla="*/ 318 h 440"/>
                <a:gd name="T28" fmla="*/ 142 w 398"/>
                <a:gd name="T29" fmla="*/ 292 h 440"/>
                <a:gd name="T30" fmla="*/ 126 w 398"/>
                <a:gd name="T31" fmla="*/ 258 h 440"/>
                <a:gd name="T32" fmla="*/ 114 w 398"/>
                <a:gd name="T33" fmla="*/ 222 h 440"/>
                <a:gd name="T34" fmla="*/ 100 w 398"/>
                <a:gd name="T35" fmla="*/ 204 h 440"/>
                <a:gd name="T36" fmla="*/ 92 w 398"/>
                <a:gd name="T37" fmla="*/ 196 h 440"/>
                <a:gd name="T38" fmla="*/ 50 w 398"/>
                <a:gd name="T39" fmla="*/ 196 h 440"/>
                <a:gd name="T40" fmla="*/ 26 w 398"/>
                <a:gd name="T41" fmla="*/ 180 h 440"/>
                <a:gd name="T42" fmla="*/ 32 w 398"/>
                <a:gd name="T43" fmla="*/ 144 h 440"/>
                <a:gd name="T44" fmla="*/ 32 w 398"/>
                <a:gd name="T45" fmla="*/ 114 h 440"/>
                <a:gd name="T46" fmla="*/ 0 w 398"/>
                <a:gd name="T47" fmla="*/ 94 h 440"/>
                <a:gd name="T48" fmla="*/ 24 w 398"/>
                <a:gd name="T49" fmla="*/ 80 h 440"/>
                <a:gd name="T50" fmla="*/ 52 w 398"/>
                <a:gd name="T51" fmla="*/ 92 h 440"/>
                <a:gd name="T52" fmla="*/ 80 w 398"/>
                <a:gd name="T53" fmla="*/ 102 h 440"/>
                <a:gd name="T54" fmla="*/ 106 w 398"/>
                <a:gd name="T55" fmla="*/ 102 h 440"/>
                <a:gd name="T56" fmla="*/ 134 w 398"/>
                <a:gd name="T57" fmla="*/ 110 h 440"/>
                <a:gd name="T58" fmla="*/ 160 w 398"/>
                <a:gd name="T59" fmla="*/ 86 h 440"/>
                <a:gd name="T60" fmla="*/ 180 w 398"/>
                <a:gd name="T61" fmla="*/ 86 h 440"/>
                <a:gd name="T62" fmla="*/ 208 w 398"/>
                <a:gd name="T63" fmla="*/ 76 h 440"/>
                <a:gd name="T64" fmla="*/ 234 w 398"/>
                <a:gd name="T65" fmla="*/ 60 h 440"/>
                <a:gd name="T66" fmla="*/ 262 w 398"/>
                <a:gd name="T67" fmla="*/ 34 h 440"/>
                <a:gd name="T68" fmla="*/ 282 w 398"/>
                <a:gd name="T69" fmla="*/ 4 h 440"/>
                <a:gd name="T70" fmla="*/ 308 w 398"/>
                <a:gd name="T71" fmla="*/ 4 h 440"/>
                <a:gd name="T72" fmla="*/ 314 w 398"/>
                <a:gd name="T73" fmla="*/ 40 h 440"/>
                <a:gd name="T74" fmla="*/ 342 w 398"/>
                <a:gd name="T75" fmla="*/ 60 h 440"/>
                <a:gd name="T76" fmla="*/ 336 w 398"/>
                <a:gd name="T77" fmla="*/ 92 h 440"/>
                <a:gd name="T78" fmla="*/ 322 w 398"/>
                <a:gd name="T79" fmla="*/ 118 h 440"/>
                <a:gd name="T80" fmla="*/ 322 w 398"/>
                <a:gd name="T81" fmla="*/ 154 h 440"/>
                <a:gd name="T82" fmla="*/ 314 w 398"/>
                <a:gd name="T83" fmla="*/ 188 h 440"/>
                <a:gd name="T84" fmla="*/ 342 w 398"/>
                <a:gd name="T85" fmla="*/ 204 h 440"/>
                <a:gd name="T86" fmla="*/ 342 w 398"/>
                <a:gd name="T87" fmla="*/ 240 h 440"/>
                <a:gd name="T88" fmla="*/ 368 w 398"/>
                <a:gd name="T89" fmla="*/ 258 h 440"/>
                <a:gd name="T90" fmla="*/ 390 w 398"/>
                <a:gd name="T91" fmla="*/ 276 h 440"/>
                <a:gd name="T92" fmla="*/ 390 w 398"/>
                <a:gd name="T93" fmla="*/ 302 h 440"/>
                <a:gd name="T94" fmla="*/ 398 w 398"/>
                <a:gd name="T95" fmla="*/ 318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8" h="440">
                  <a:moveTo>
                    <a:pt x="398" y="318"/>
                  </a:moveTo>
                  <a:lnTo>
                    <a:pt x="390" y="334"/>
                  </a:lnTo>
                  <a:lnTo>
                    <a:pt x="376" y="334"/>
                  </a:lnTo>
                  <a:lnTo>
                    <a:pt x="364" y="334"/>
                  </a:lnTo>
                  <a:lnTo>
                    <a:pt x="350" y="334"/>
                  </a:lnTo>
                  <a:lnTo>
                    <a:pt x="336" y="334"/>
                  </a:lnTo>
                  <a:lnTo>
                    <a:pt x="322" y="344"/>
                  </a:lnTo>
                  <a:lnTo>
                    <a:pt x="316" y="360"/>
                  </a:lnTo>
                  <a:lnTo>
                    <a:pt x="310" y="378"/>
                  </a:lnTo>
                  <a:lnTo>
                    <a:pt x="296" y="386"/>
                  </a:lnTo>
                  <a:lnTo>
                    <a:pt x="302" y="404"/>
                  </a:lnTo>
                  <a:lnTo>
                    <a:pt x="290" y="412"/>
                  </a:lnTo>
                  <a:lnTo>
                    <a:pt x="276" y="412"/>
                  </a:lnTo>
                  <a:lnTo>
                    <a:pt x="262" y="396"/>
                  </a:lnTo>
                  <a:lnTo>
                    <a:pt x="248" y="396"/>
                  </a:lnTo>
                  <a:lnTo>
                    <a:pt x="234" y="396"/>
                  </a:lnTo>
                  <a:lnTo>
                    <a:pt x="220" y="404"/>
                  </a:lnTo>
                  <a:lnTo>
                    <a:pt x="216" y="422"/>
                  </a:lnTo>
                  <a:lnTo>
                    <a:pt x="208" y="440"/>
                  </a:lnTo>
                  <a:lnTo>
                    <a:pt x="200" y="440"/>
                  </a:lnTo>
                  <a:lnTo>
                    <a:pt x="188" y="428"/>
                  </a:lnTo>
                  <a:lnTo>
                    <a:pt x="174" y="422"/>
                  </a:lnTo>
                  <a:lnTo>
                    <a:pt x="160" y="404"/>
                  </a:lnTo>
                  <a:lnTo>
                    <a:pt x="160" y="386"/>
                  </a:lnTo>
                  <a:lnTo>
                    <a:pt x="166" y="368"/>
                  </a:lnTo>
                  <a:lnTo>
                    <a:pt x="160" y="352"/>
                  </a:lnTo>
                  <a:lnTo>
                    <a:pt x="160" y="334"/>
                  </a:lnTo>
                  <a:lnTo>
                    <a:pt x="160" y="318"/>
                  </a:lnTo>
                  <a:lnTo>
                    <a:pt x="154" y="302"/>
                  </a:lnTo>
                  <a:lnTo>
                    <a:pt x="142" y="292"/>
                  </a:lnTo>
                  <a:lnTo>
                    <a:pt x="126" y="272"/>
                  </a:lnTo>
                  <a:lnTo>
                    <a:pt x="126" y="258"/>
                  </a:lnTo>
                  <a:lnTo>
                    <a:pt x="120" y="240"/>
                  </a:lnTo>
                  <a:lnTo>
                    <a:pt x="114" y="222"/>
                  </a:lnTo>
                  <a:lnTo>
                    <a:pt x="114" y="204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92" y="196"/>
                  </a:lnTo>
                  <a:lnTo>
                    <a:pt x="64" y="198"/>
                  </a:lnTo>
                  <a:lnTo>
                    <a:pt x="50" y="196"/>
                  </a:lnTo>
                  <a:lnTo>
                    <a:pt x="32" y="192"/>
                  </a:lnTo>
                  <a:lnTo>
                    <a:pt x="26" y="180"/>
                  </a:lnTo>
                  <a:lnTo>
                    <a:pt x="26" y="162"/>
                  </a:lnTo>
                  <a:lnTo>
                    <a:pt x="32" y="144"/>
                  </a:lnTo>
                  <a:lnTo>
                    <a:pt x="40" y="126"/>
                  </a:lnTo>
                  <a:lnTo>
                    <a:pt x="32" y="114"/>
                  </a:lnTo>
                  <a:lnTo>
                    <a:pt x="14" y="100"/>
                  </a:lnTo>
                  <a:lnTo>
                    <a:pt x="0" y="94"/>
                  </a:lnTo>
                  <a:lnTo>
                    <a:pt x="0" y="82"/>
                  </a:lnTo>
                  <a:lnTo>
                    <a:pt x="24" y="80"/>
                  </a:lnTo>
                  <a:lnTo>
                    <a:pt x="40" y="86"/>
                  </a:lnTo>
                  <a:lnTo>
                    <a:pt x="52" y="92"/>
                  </a:lnTo>
                  <a:lnTo>
                    <a:pt x="66" y="92"/>
                  </a:lnTo>
                  <a:lnTo>
                    <a:pt x="80" y="102"/>
                  </a:lnTo>
                  <a:lnTo>
                    <a:pt x="92" y="102"/>
                  </a:lnTo>
                  <a:lnTo>
                    <a:pt x="106" y="102"/>
                  </a:lnTo>
                  <a:lnTo>
                    <a:pt x="120" y="110"/>
                  </a:lnTo>
                  <a:lnTo>
                    <a:pt x="134" y="110"/>
                  </a:lnTo>
                  <a:lnTo>
                    <a:pt x="148" y="92"/>
                  </a:lnTo>
                  <a:lnTo>
                    <a:pt x="160" y="86"/>
                  </a:lnTo>
                  <a:lnTo>
                    <a:pt x="166" y="86"/>
                  </a:lnTo>
                  <a:lnTo>
                    <a:pt x="180" y="86"/>
                  </a:lnTo>
                  <a:lnTo>
                    <a:pt x="196" y="76"/>
                  </a:lnTo>
                  <a:lnTo>
                    <a:pt x="208" y="76"/>
                  </a:lnTo>
                  <a:lnTo>
                    <a:pt x="220" y="66"/>
                  </a:lnTo>
                  <a:lnTo>
                    <a:pt x="234" y="60"/>
                  </a:lnTo>
                  <a:lnTo>
                    <a:pt x="248" y="40"/>
                  </a:lnTo>
                  <a:lnTo>
                    <a:pt x="262" y="34"/>
                  </a:lnTo>
                  <a:lnTo>
                    <a:pt x="274" y="24"/>
                  </a:lnTo>
                  <a:lnTo>
                    <a:pt x="282" y="4"/>
                  </a:lnTo>
                  <a:lnTo>
                    <a:pt x="296" y="0"/>
                  </a:lnTo>
                  <a:lnTo>
                    <a:pt x="308" y="4"/>
                  </a:lnTo>
                  <a:lnTo>
                    <a:pt x="308" y="24"/>
                  </a:lnTo>
                  <a:lnTo>
                    <a:pt x="314" y="40"/>
                  </a:lnTo>
                  <a:lnTo>
                    <a:pt x="328" y="40"/>
                  </a:lnTo>
                  <a:lnTo>
                    <a:pt x="342" y="60"/>
                  </a:lnTo>
                  <a:lnTo>
                    <a:pt x="342" y="76"/>
                  </a:lnTo>
                  <a:lnTo>
                    <a:pt x="336" y="92"/>
                  </a:lnTo>
                  <a:lnTo>
                    <a:pt x="336" y="110"/>
                  </a:lnTo>
                  <a:lnTo>
                    <a:pt x="322" y="118"/>
                  </a:lnTo>
                  <a:lnTo>
                    <a:pt x="314" y="136"/>
                  </a:lnTo>
                  <a:lnTo>
                    <a:pt x="322" y="154"/>
                  </a:lnTo>
                  <a:lnTo>
                    <a:pt x="314" y="170"/>
                  </a:lnTo>
                  <a:lnTo>
                    <a:pt x="314" y="188"/>
                  </a:lnTo>
                  <a:lnTo>
                    <a:pt x="328" y="204"/>
                  </a:lnTo>
                  <a:lnTo>
                    <a:pt x="342" y="204"/>
                  </a:lnTo>
                  <a:lnTo>
                    <a:pt x="342" y="222"/>
                  </a:lnTo>
                  <a:lnTo>
                    <a:pt x="342" y="240"/>
                  </a:lnTo>
                  <a:lnTo>
                    <a:pt x="356" y="258"/>
                  </a:lnTo>
                  <a:lnTo>
                    <a:pt x="368" y="258"/>
                  </a:lnTo>
                  <a:lnTo>
                    <a:pt x="384" y="266"/>
                  </a:lnTo>
                  <a:lnTo>
                    <a:pt x="390" y="276"/>
                  </a:lnTo>
                  <a:lnTo>
                    <a:pt x="396" y="292"/>
                  </a:lnTo>
                  <a:lnTo>
                    <a:pt x="390" y="302"/>
                  </a:lnTo>
                  <a:lnTo>
                    <a:pt x="396" y="318"/>
                  </a:lnTo>
                  <a:lnTo>
                    <a:pt x="398" y="318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47"/>
            <p:cNvSpPr>
              <a:spLocks/>
            </p:cNvSpPr>
            <p:nvPr/>
          </p:nvSpPr>
          <p:spPr bwMode="auto">
            <a:xfrm>
              <a:off x="1371329" y="1702755"/>
              <a:ext cx="594938" cy="657721"/>
            </a:xfrm>
            <a:custGeom>
              <a:avLst/>
              <a:gdLst>
                <a:gd name="T0" fmla="*/ 390 w 398"/>
                <a:gd name="T1" fmla="*/ 334 h 440"/>
                <a:gd name="T2" fmla="*/ 364 w 398"/>
                <a:gd name="T3" fmla="*/ 334 h 440"/>
                <a:gd name="T4" fmla="*/ 336 w 398"/>
                <a:gd name="T5" fmla="*/ 334 h 440"/>
                <a:gd name="T6" fmla="*/ 316 w 398"/>
                <a:gd name="T7" fmla="*/ 360 h 440"/>
                <a:gd name="T8" fmla="*/ 296 w 398"/>
                <a:gd name="T9" fmla="*/ 386 h 440"/>
                <a:gd name="T10" fmla="*/ 290 w 398"/>
                <a:gd name="T11" fmla="*/ 412 h 440"/>
                <a:gd name="T12" fmla="*/ 262 w 398"/>
                <a:gd name="T13" fmla="*/ 396 h 440"/>
                <a:gd name="T14" fmla="*/ 234 w 398"/>
                <a:gd name="T15" fmla="*/ 396 h 440"/>
                <a:gd name="T16" fmla="*/ 216 w 398"/>
                <a:gd name="T17" fmla="*/ 422 h 440"/>
                <a:gd name="T18" fmla="*/ 200 w 398"/>
                <a:gd name="T19" fmla="*/ 440 h 440"/>
                <a:gd name="T20" fmla="*/ 174 w 398"/>
                <a:gd name="T21" fmla="*/ 422 h 440"/>
                <a:gd name="T22" fmla="*/ 160 w 398"/>
                <a:gd name="T23" fmla="*/ 386 h 440"/>
                <a:gd name="T24" fmla="*/ 160 w 398"/>
                <a:gd name="T25" fmla="*/ 352 h 440"/>
                <a:gd name="T26" fmla="*/ 160 w 398"/>
                <a:gd name="T27" fmla="*/ 318 h 440"/>
                <a:gd name="T28" fmla="*/ 142 w 398"/>
                <a:gd name="T29" fmla="*/ 292 h 440"/>
                <a:gd name="T30" fmla="*/ 126 w 398"/>
                <a:gd name="T31" fmla="*/ 258 h 440"/>
                <a:gd name="T32" fmla="*/ 114 w 398"/>
                <a:gd name="T33" fmla="*/ 222 h 440"/>
                <a:gd name="T34" fmla="*/ 100 w 398"/>
                <a:gd name="T35" fmla="*/ 204 h 440"/>
                <a:gd name="T36" fmla="*/ 92 w 398"/>
                <a:gd name="T37" fmla="*/ 196 h 440"/>
                <a:gd name="T38" fmla="*/ 50 w 398"/>
                <a:gd name="T39" fmla="*/ 196 h 440"/>
                <a:gd name="T40" fmla="*/ 26 w 398"/>
                <a:gd name="T41" fmla="*/ 180 h 440"/>
                <a:gd name="T42" fmla="*/ 32 w 398"/>
                <a:gd name="T43" fmla="*/ 144 h 440"/>
                <a:gd name="T44" fmla="*/ 32 w 398"/>
                <a:gd name="T45" fmla="*/ 114 h 440"/>
                <a:gd name="T46" fmla="*/ 0 w 398"/>
                <a:gd name="T47" fmla="*/ 94 h 440"/>
                <a:gd name="T48" fmla="*/ 24 w 398"/>
                <a:gd name="T49" fmla="*/ 80 h 440"/>
                <a:gd name="T50" fmla="*/ 52 w 398"/>
                <a:gd name="T51" fmla="*/ 92 h 440"/>
                <a:gd name="T52" fmla="*/ 80 w 398"/>
                <a:gd name="T53" fmla="*/ 102 h 440"/>
                <a:gd name="T54" fmla="*/ 106 w 398"/>
                <a:gd name="T55" fmla="*/ 102 h 440"/>
                <a:gd name="T56" fmla="*/ 134 w 398"/>
                <a:gd name="T57" fmla="*/ 110 h 440"/>
                <a:gd name="T58" fmla="*/ 160 w 398"/>
                <a:gd name="T59" fmla="*/ 86 h 440"/>
                <a:gd name="T60" fmla="*/ 180 w 398"/>
                <a:gd name="T61" fmla="*/ 86 h 440"/>
                <a:gd name="T62" fmla="*/ 208 w 398"/>
                <a:gd name="T63" fmla="*/ 76 h 440"/>
                <a:gd name="T64" fmla="*/ 234 w 398"/>
                <a:gd name="T65" fmla="*/ 60 h 440"/>
                <a:gd name="T66" fmla="*/ 262 w 398"/>
                <a:gd name="T67" fmla="*/ 34 h 440"/>
                <a:gd name="T68" fmla="*/ 282 w 398"/>
                <a:gd name="T69" fmla="*/ 4 h 440"/>
                <a:gd name="T70" fmla="*/ 308 w 398"/>
                <a:gd name="T71" fmla="*/ 4 h 440"/>
                <a:gd name="T72" fmla="*/ 314 w 398"/>
                <a:gd name="T73" fmla="*/ 40 h 440"/>
                <a:gd name="T74" fmla="*/ 342 w 398"/>
                <a:gd name="T75" fmla="*/ 60 h 440"/>
                <a:gd name="T76" fmla="*/ 336 w 398"/>
                <a:gd name="T77" fmla="*/ 92 h 440"/>
                <a:gd name="T78" fmla="*/ 322 w 398"/>
                <a:gd name="T79" fmla="*/ 118 h 440"/>
                <a:gd name="T80" fmla="*/ 322 w 398"/>
                <a:gd name="T81" fmla="*/ 154 h 440"/>
                <a:gd name="T82" fmla="*/ 314 w 398"/>
                <a:gd name="T83" fmla="*/ 188 h 440"/>
                <a:gd name="T84" fmla="*/ 342 w 398"/>
                <a:gd name="T85" fmla="*/ 204 h 440"/>
                <a:gd name="T86" fmla="*/ 342 w 398"/>
                <a:gd name="T87" fmla="*/ 240 h 440"/>
                <a:gd name="T88" fmla="*/ 368 w 398"/>
                <a:gd name="T89" fmla="*/ 258 h 440"/>
                <a:gd name="T90" fmla="*/ 390 w 398"/>
                <a:gd name="T91" fmla="*/ 276 h 440"/>
                <a:gd name="T92" fmla="*/ 390 w 398"/>
                <a:gd name="T93" fmla="*/ 302 h 440"/>
                <a:gd name="T94" fmla="*/ 398 w 398"/>
                <a:gd name="T95" fmla="*/ 318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8" h="440">
                  <a:moveTo>
                    <a:pt x="398" y="318"/>
                  </a:moveTo>
                  <a:lnTo>
                    <a:pt x="390" y="334"/>
                  </a:lnTo>
                  <a:lnTo>
                    <a:pt x="376" y="334"/>
                  </a:lnTo>
                  <a:lnTo>
                    <a:pt x="364" y="334"/>
                  </a:lnTo>
                  <a:lnTo>
                    <a:pt x="350" y="334"/>
                  </a:lnTo>
                  <a:lnTo>
                    <a:pt x="336" y="334"/>
                  </a:lnTo>
                  <a:lnTo>
                    <a:pt x="322" y="344"/>
                  </a:lnTo>
                  <a:lnTo>
                    <a:pt x="316" y="360"/>
                  </a:lnTo>
                  <a:lnTo>
                    <a:pt x="310" y="378"/>
                  </a:lnTo>
                  <a:lnTo>
                    <a:pt x="296" y="386"/>
                  </a:lnTo>
                  <a:lnTo>
                    <a:pt x="302" y="404"/>
                  </a:lnTo>
                  <a:lnTo>
                    <a:pt x="290" y="412"/>
                  </a:lnTo>
                  <a:lnTo>
                    <a:pt x="276" y="412"/>
                  </a:lnTo>
                  <a:lnTo>
                    <a:pt x="262" y="396"/>
                  </a:lnTo>
                  <a:lnTo>
                    <a:pt x="248" y="396"/>
                  </a:lnTo>
                  <a:lnTo>
                    <a:pt x="234" y="396"/>
                  </a:lnTo>
                  <a:lnTo>
                    <a:pt x="220" y="404"/>
                  </a:lnTo>
                  <a:lnTo>
                    <a:pt x="216" y="422"/>
                  </a:lnTo>
                  <a:lnTo>
                    <a:pt x="208" y="440"/>
                  </a:lnTo>
                  <a:lnTo>
                    <a:pt x="200" y="440"/>
                  </a:lnTo>
                  <a:lnTo>
                    <a:pt x="188" y="428"/>
                  </a:lnTo>
                  <a:lnTo>
                    <a:pt x="174" y="422"/>
                  </a:lnTo>
                  <a:lnTo>
                    <a:pt x="160" y="404"/>
                  </a:lnTo>
                  <a:lnTo>
                    <a:pt x="160" y="386"/>
                  </a:lnTo>
                  <a:lnTo>
                    <a:pt x="166" y="368"/>
                  </a:lnTo>
                  <a:lnTo>
                    <a:pt x="160" y="352"/>
                  </a:lnTo>
                  <a:lnTo>
                    <a:pt x="160" y="334"/>
                  </a:lnTo>
                  <a:lnTo>
                    <a:pt x="160" y="318"/>
                  </a:lnTo>
                  <a:lnTo>
                    <a:pt x="154" y="302"/>
                  </a:lnTo>
                  <a:lnTo>
                    <a:pt x="142" y="292"/>
                  </a:lnTo>
                  <a:lnTo>
                    <a:pt x="126" y="272"/>
                  </a:lnTo>
                  <a:lnTo>
                    <a:pt x="126" y="258"/>
                  </a:lnTo>
                  <a:lnTo>
                    <a:pt x="120" y="240"/>
                  </a:lnTo>
                  <a:lnTo>
                    <a:pt x="114" y="222"/>
                  </a:lnTo>
                  <a:lnTo>
                    <a:pt x="114" y="204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92" y="196"/>
                  </a:lnTo>
                  <a:lnTo>
                    <a:pt x="64" y="198"/>
                  </a:lnTo>
                  <a:lnTo>
                    <a:pt x="50" y="196"/>
                  </a:lnTo>
                  <a:lnTo>
                    <a:pt x="32" y="192"/>
                  </a:lnTo>
                  <a:lnTo>
                    <a:pt x="26" y="180"/>
                  </a:lnTo>
                  <a:lnTo>
                    <a:pt x="26" y="162"/>
                  </a:lnTo>
                  <a:lnTo>
                    <a:pt x="32" y="144"/>
                  </a:lnTo>
                  <a:lnTo>
                    <a:pt x="40" y="126"/>
                  </a:lnTo>
                  <a:lnTo>
                    <a:pt x="32" y="114"/>
                  </a:lnTo>
                  <a:lnTo>
                    <a:pt x="14" y="100"/>
                  </a:lnTo>
                  <a:lnTo>
                    <a:pt x="0" y="94"/>
                  </a:lnTo>
                  <a:lnTo>
                    <a:pt x="0" y="82"/>
                  </a:lnTo>
                  <a:lnTo>
                    <a:pt x="24" y="80"/>
                  </a:lnTo>
                  <a:lnTo>
                    <a:pt x="40" y="86"/>
                  </a:lnTo>
                  <a:lnTo>
                    <a:pt x="52" y="92"/>
                  </a:lnTo>
                  <a:lnTo>
                    <a:pt x="66" y="92"/>
                  </a:lnTo>
                  <a:lnTo>
                    <a:pt x="80" y="102"/>
                  </a:lnTo>
                  <a:lnTo>
                    <a:pt x="92" y="102"/>
                  </a:lnTo>
                  <a:lnTo>
                    <a:pt x="106" y="102"/>
                  </a:lnTo>
                  <a:lnTo>
                    <a:pt x="120" y="110"/>
                  </a:lnTo>
                  <a:lnTo>
                    <a:pt x="134" y="110"/>
                  </a:lnTo>
                  <a:lnTo>
                    <a:pt x="148" y="92"/>
                  </a:lnTo>
                  <a:lnTo>
                    <a:pt x="160" y="86"/>
                  </a:lnTo>
                  <a:lnTo>
                    <a:pt x="166" y="86"/>
                  </a:lnTo>
                  <a:lnTo>
                    <a:pt x="180" y="86"/>
                  </a:lnTo>
                  <a:lnTo>
                    <a:pt x="196" y="76"/>
                  </a:lnTo>
                  <a:lnTo>
                    <a:pt x="208" y="76"/>
                  </a:lnTo>
                  <a:lnTo>
                    <a:pt x="220" y="66"/>
                  </a:lnTo>
                  <a:lnTo>
                    <a:pt x="234" y="60"/>
                  </a:lnTo>
                  <a:lnTo>
                    <a:pt x="248" y="40"/>
                  </a:lnTo>
                  <a:lnTo>
                    <a:pt x="262" y="34"/>
                  </a:lnTo>
                  <a:lnTo>
                    <a:pt x="274" y="24"/>
                  </a:lnTo>
                  <a:lnTo>
                    <a:pt x="282" y="4"/>
                  </a:lnTo>
                  <a:lnTo>
                    <a:pt x="296" y="0"/>
                  </a:lnTo>
                  <a:lnTo>
                    <a:pt x="308" y="4"/>
                  </a:lnTo>
                  <a:lnTo>
                    <a:pt x="308" y="24"/>
                  </a:lnTo>
                  <a:lnTo>
                    <a:pt x="314" y="40"/>
                  </a:lnTo>
                  <a:lnTo>
                    <a:pt x="328" y="40"/>
                  </a:lnTo>
                  <a:lnTo>
                    <a:pt x="342" y="60"/>
                  </a:lnTo>
                  <a:lnTo>
                    <a:pt x="342" y="76"/>
                  </a:lnTo>
                  <a:lnTo>
                    <a:pt x="336" y="92"/>
                  </a:lnTo>
                  <a:lnTo>
                    <a:pt x="336" y="110"/>
                  </a:lnTo>
                  <a:lnTo>
                    <a:pt x="322" y="118"/>
                  </a:lnTo>
                  <a:lnTo>
                    <a:pt x="314" y="136"/>
                  </a:lnTo>
                  <a:lnTo>
                    <a:pt x="322" y="154"/>
                  </a:lnTo>
                  <a:lnTo>
                    <a:pt x="314" y="170"/>
                  </a:lnTo>
                  <a:lnTo>
                    <a:pt x="314" y="188"/>
                  </a:lnTo>
                  <a:lnTo>
                    <a:pt x="328" y="204"/>
                  </a:lnTo>
                  <a:lnTo>
                    <a:pt x="342" y="204"/>
                  </a:lnTo>
                  <a:lnTo>
                    <a:pt x="342" y="222"/>
                  </a:lnTo>
                  <a:lnTo>
                    <a:pt x="342" y="240"/>
                  </a:lnTo>
                  <a:lnTo>
                    <a:pt x="356" y="258"/>
                  </a:lnTo>
                  <a:lnTo>
                    <a:pt x="368" y="258"/>
                  </a:lnTo>
                  <a:lnTo>
                    <a:pt x="384" y="266"/>
                  </a:lnTo>
                  <a:lnTo>
                    <a:pt x="390" y="276"/>
                  </a:lnTo>
                  <a:lnTo>
                    <a:pt x="396" y="292"/>
                  </a:lnTo>
                  <a:lnTo>
                    <a:pt x="390" y="302"/>
                  </a:lnTo>
                  <a:lnTo>
                    <a:pt x="396" y="318"/>
                  </a:lnTo>
                  <a:lnTo>
                    <a:pt x="398" y="318"/>
                  </a:lnTo>
                </a:path>
              </a:pathLst>
            </a:custGeom>
            <a:solidFill>
              <a:srgbClr val="E0E0E0"/>
            </a:solidFill>
            <a:ln w="8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48"/>
            <p:cNvSpPr>
              <a:spLocks/>
            </p:cNvSpPr>
            <p:nvPr/>
          </p:nvSpPr>
          <p:spPr bwMode="auto">
            <a:xfrm>
              <a:off x="1218858" y="3030155"/>
              <a:ext cx="678648" cy="559063"/>
            </a:xfrm>
            <a:custGeom>
              <a:avLst/>
              <a:gdLst>
                <a:gd name="T0" fmla="*/ 412 w 454"/>
                <a:gd name="T1" fmla="*/ 358 h 374"/>
                <a:gd name="T2" fmla="*/ 426 w 454"/>
                <a:gd name="T3" fmla="*/ 330 h 374"/>
                <a:gd name="T4" fmla="*/ 446 w 454"/>
                <a:gd name="T5" fmla="*/ 314 h 374"/>
                <a:gd name="T6" fmla="*/ 454 w 454"/>
                <a:gd name="T7" fmla="*/ 278 h 374"/>
                <a:gd name="T8" fmla="*/ 440 w 454"/>
                <a:gd name="T9" fmla="*/ 244 h 374"/>
                <a:gd name="T10" fmla="*/ 446 w 454"/>
                <a:gd name="T11" fmla="*/ 208 h 374"/>
                <a:gd name="T12" fmla="*/ 420 w 454"/>
                <a:gd name="T13" fmla="*/ 208 h 374"/>
                <a:gd name="T14" fmla="*/ 398 w 454"/>
                <a:gd name="T15" fmla="*/ 200 h 374"/>
                <a:gd name="T16" fmla="*/ 372 w 454"/>
                <a:gd name="T17" fmla="*/ 182 h 374"/>
                <a:gd name="T18" fmla="*/ 344 w 454"/>
                <a:gd name="T19" fmla="*/ 158 h 374"/>
                <a:gd name="T20" fmla="*/ 344 w 454"/>
                <a:gd name="T21" fmla="*/ 122 h 374"/>
                <a:gd name="T22" fmla="*/ 344 w 454"/>
                <a:gd name="T23" fmla="*/ 86 h 374"/>
                <a:gd name="T24" fmla="*/ 338 w 454"/>
                <a:gd name="T25" fmla="*/ 52 h 374"/>
                <a:gd name="T26" fmla="*/ 324 w 454"/>
                <a:gd name="T27" fmla="*/ 42 h 374"/>
                <a:gd name="T28" fmla="*/ 298 w 454"/>
                <a:gd name="T29" fmla="*/ 34 h 374"/>
                <a:gd name="T30" fmla="*/ 270 w 454"/>
                <a:gd name="T31" fmla="*/ 26 h 374"/>
                <a:gd name="T32" fmla="*/ 242 w 454"/>
                <a:gd name="T33" fmla="*/ 8 h 374"/>
                <a:gd name="T34" fmla="*/ 216 w 454"/>
                <a:gd name="T35" fmla="*/ 0 h 374"/>
                <a:gd name="T36" fmla="*/ 188 w 454"/>
                <a:gd name="T37" fmla="*/ 8 h 374"/>
                <a:gd name="T38" fmla="*/ 168 w 454"/>
                <a:gd name="T39" fmla="*/ 34 h 374"/>
                <a:gd name="T40" fmla="*/ 150 w 454"/>
                <a:gd name="T41" fmla="*/ 60 h 374"/>
                <a:gd name="T42" fmla="*/ 122 w 454"/>
                <a:gd name="T43" fmla="*/ 52 h 374"/>
                <a:gd name="T44" fmla="*/ 106 w 454"/>
                <a:gd name="T45" fmla="*/ 86 h 374"/>
                <a:gd name="T46" fmla="*/ 94 w 454"/>
                <a:gd name="T47" fmla="*/ 96 h 374"/>
                <a:gd name="T48" fmla="*/ 72 w 454"/>
                <a:gd name="T49" fmla="*/ 106 h 374"/>
                <a:gd name="T50" fmla="*/ 40 w 454"/>
                <a:gd name="T51" fmla="*/ 96 h 374"/>
                <a:gd name="T52" fmla="*/ 14 w 454"/>
                <a:gd name="T53" fmla="*/ 96 h 374"/>
                <a:gd name="T54" fmla="*/ 0 w 454"/>
                <a:gd name="T55" fmla="*/ 124 h 374"/>
                <a:gd name="T56" fmla="*/ 44 w 454"/>
                <a:gd name="T57" fmla="*/ 116 h 374"/>
                <a:gd name="T58" fmla="*/ 72 w 454"/>
                <a:gd name="T59" fmla="*/ 118 h 374"/>
                <a:gd name="T60" fmla="*/ 80 w 454"/>
                <a:gd name="T61" fmla="*/ 132 h 374"/>
                <a:gd name="T62" fmla="*/ 88 w 454"/>
                <a:gd name="T63" fmla="*/ 166 h 374"/>
                <a:gd name="T64" fmla="*/ 88 w 454"/>
                <a:gd name="T65" fmla="*/ 200 h 374"/>
                <a:gd name="T66" fmla="*/ 94 w 454"/>
                <a:gd name="T67" fmla="*/ 236 h 374"/>
                <a:gd name="T68" fmla="*/ 122 w 454"/>
                <a:gd name="T69" fmla="*/ 278 h 374"/>
                <a:gd name="T70" fmla="*/ 150 w 454"/>
                <a:gd name="T71" fmla="*/ 296 h 374"/>
                <a:gd name="T72" fmla="*/ 182 w 454"/>
                <a:gd name="T73" fmla="*/ 304 h 374"/>
                <a:gd name="T74" fmla="*/ 210 w 454"/>
                <a:gd name="T75" fmla="*/ 304 h 374"/>
                <a:gd name="T76" fmla="*/ 236 w 454"/>
                <a:gd name="T77" fmla="*/ 314 h 374"/>
                <a:gd name="T78" fmla="*/ 270 w 454"/>
                <a:gd name="T79" fmla="*/ 330 h 374"/>
                <a:gd name="T80" fmla="*/ 298 w 454"/>
                <a:gd name="T81" fmla="*/ 340 h 374"/>
                <a:gd name="T82" fmla="*/ 324 w 454"/>
                <a:gd name="T83" fmla="*/ 366 h 374"/>
                <a:gd name="T84" fmla="*/ 352 w 454"/>
                <a:gd name="T85" fmla="*/ 374 h 374"/>
                <a:gd name="T86" fmla="*/ 380 w 454"/>
                <a:gd name="T87" fmla="*/ 366 h 374"/>
                <a:gd name="T88" fmla="*/ 398 w 454"/>
                <a:gd name="T89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4" h="374">
                  <a:moveTo>
                    <a:pt x="398" y="374"/>
                  </a:moveTo>
                  <a:lnTo>
                    <a:pt x="412" y="358"/>
                  </a:lnTo>
                  <a:lnTo>
                    <a:pt x="420" y="340"/>
                  </a:lnTo>
                  <a:lnTo>
                    <a:pt x="426" y="330"/>
                  </a:lnTo>
                  <a:lnTo>
                    <a:pt x="432" y="322"/>
                  </a:lnTo>
                  <a:lnTo>
                    <a:pt x="446" y="314"/>
                  </a:lnTo>
                  <a:lnTo>
                    <a:pt x="454" y="296"/>
                  </a:lnTo>
                  <a:lnTo>
                    <a:pt x="454" y="278"/>
                  </a:lnTo>
                  <a:lnTo>
                    <a:pt x="446" y="262"/>
                  </a:lnTo>
                  <a:lnTo>
                    <a:pt x="440" y="244"/>
                  </a:lnTo>
                  <a:lnTo>
                    <a:pt x="440" y="226"/>
                  </a:lnTo>
                  <a:lnTo>
                    <a:pt x="446" y="208"/>
                  </a:lnTo>
                  <a:lnTo>
                    <a:pt x="432" y="208"/>
                  </a:lnTo>
                  <a:lnTo>
                    <a:pt x="420" y="208"/>
                  </a:lnTo>
                  <a:lnTo>
                    <a:pt x="412" y="190"/>
                  </a:lnTo>
                  <a:lnTo>
                    <a:pt x="398" y="200"/>
                  </a:lnTo>
                  <a:lnTo>
                    <a:pt x="384" y="190"/>
                  </a:lnTo>
                  <a:lnTo>
                    <a:pt x="372" y="182"/>
                  </a:lnTo>
                  <a:lnTo>
                    <a:pt x="358" y="174"/>
                  </a:lnTo>
                  <a:lnTo>
                    <a:pt x="344" y="158"/>
                  </a:lnTo>
                  <a:lnTo>
                    <a:pt x="338" y="140"/>
                  </a:lnTo>
                  <a:lnTo>
                    <a:pt x="344" y="122"/>
                  </a:lnTo>
                  <a:lnTo>
                    <a:pt x="352" y="106"/>
                  </a:lnTo>
                  <a:lnTo>
                    <a:pt x="344" y="86"/>
                  </a:lnTo>
                  <a:lnTo>
                    <a:pt x="338" y="70"/>
                  </a:lnTo>
                  <a:lnTo>
                    <a:pt x="338" y="52"/>
                  </a:lnTo>
                  <a:lnTo>
                    <a:pt x="338" y="42"/>
                  </a:lnTo>
                  <a:lnTo>
                    <a:pt x="324" y="42"/>
                  </a:lnTo>
                  <a:lnTo>
                    <a:pt x="312" y="34"/>
                  </a:lnTo>
                  <a:lnTo>
                    <a:pt x="298" y="34"/>
                  </a:lnTo>
                  <a:lnTo>
                    <a:pt x="284" y="34"/>
                  </a:lnTo>
                  <a:lnTo>
                    <a:pt x="270" y="26"/>
                  </a:lnTo>
                  <a:lnTo>
                    <a:pt x="256" y="16"/>
                  </a:lnTo>
                  <a:lnTo>
                    <a:pt x="242" y="8"/>
                  </a:lnTo>
                  <a:lnTo>
                    <a:pt x="228" y="8"/>
                  </a:lnTo>
                  <a:lnTo>
                    <a:pt x="216" y="0"/>
                  </a:lnTo>
                  <a:lnTo>
                    <a:pt x="202" y="16"/>
                  </a:lnTo>
                  <a:lnTo>
                    <a:pt x="188" y="8"/>
                  </a:lnTo>
                  <a:lnTo>
                    <a:pt x="174" y="16"/>
                  </a:lnTo>
                  <a:lnTo>
                    <a:pt x="168" y="34"/>
                  </a:lnTo>
                  <a:lnTo>
                    <a:pt x="164" y="52"/>
                  </a:lnTo>
                  <a:lnTo>
                    <a:pt x="150" y="60"/>
                  </a:lnTo>
                  <a:lnTo>
                    <a:pt x="136" y="60"/>
                  </a:lnTo>
                  <a:lnTo>
                    <a:pt x="122" y="52"/>
                  </a:lnTo>
                  <a:lnTo>
                    <a:pt x="116" y="70"/>
                  </a:lnTo>
                  <a:lnTo>
                    <a:pt x="106" y="86"/>
                  </a:lnTo>
                  <a:lnTo>
                    <a:pt x="100" y="106"/>
                  </a:lnTo>
                  <a:lnTo>
                    <a:pt x="94" y="96"/>
                  </a:lnTo>
                  <a:lnTo>
                    <a:pt x="80" y="96"/>
                  </a:lnTo>
                  <a:lnTo>
                    <a:pt x="72" y="106"/>
                  </a:lnTo>
                  <a:lnTo>
                    <a:pt x="54" y="96"/>
                  </a:lnTo>
                  <a:lnTo>
                    <a:pt x="40" y="96"/>
                  </a:lnTo>
                  <a:lnTo>
                    <a:pt x="28" y="96"/>
                  </a:lnTo>
                  <a:lnTo>
                    <a:pt x="14" y="96"/>
                  </a:lnTo>
                  <a:lnTo>
                    <a:pt x="0" y="114"/>
                  </a:lnTo>
                  <a:lnTo>
                    <a:pt x="0" y="124"/>
                  </a:lnTo>
                  <a:lnTo>
                    <a:pt x="30" y="120"/>
                  </a:lnTo>
                  <a:lnTo>
                    <a:pt x="44" y="116"/>
                  </a:lnTo>
                  <a:lnTo>
                    <a:pt x="56" y="116"/>
                  </a:lnTo>
                  <a:lnTo>
                    <a:pt x="72" y="118"/>
                  </a:lnTo>
                  <a:lnTo>
                    <a:pt x="80" y="122"/>
                  </a:lnTo>
                  <a:lnTo>
                    <a:pt x="80" y="132"/>
                  </a:lnTo>
                  <a:lnTo>
                    <a:pt x="80" y="150"/>
                  </a:lnTo>
                  <a:lnTo>
                    <a:pt x="88" y="166"/>
                  </a:lnTo>
                  <a:lnTo>
                    <a:pt x="88" y="182"/>
                  </a:lnTo>
                  <a:lnTo>
                    <a:pt x="88" y="200"/>
                  </a:lnTo>
                  <a:lnTo>
                    <a:pt x="88" y="218"/>
                  </a:lnTo>
                  <a:lnTo>
                    <a:pt x="94" y="236"/>
                  </a:lnTo>
                  <a:lnTo>
                    <a:pt x="106" y="262"/>
                  </a:lnTo>
                  <a:lnTo>
                    <a:pt x="122" y="278"/>
                  </a:lnTo>
                  <a:lnTo>
                    <a:pt x="136" y="288"/>
                  </a:lnTo>
                  <a:lnTo>
                    <a:pt x="150" y="296"/>
                  </a:lnTo>
                  <a:lnTo>
                    <a:pt x="164" y="304"/>
                  </a:lnTo>
                  <a:lnTo>
                    <a:pt x="182" y="304"/>
                  </a:lnTo>
                  <a:lnTo>
                    <a:pt x="196" y="304"/>
                  </a:lnTo>
                  <a:lnTo>
                    <a:pt x="210" y="304"/>
                  </a:lnTo>
                  <a:lnTo>
                    <a:pt x="222" y="304"/>
                  </a:lnTo>
                  <a:lnTo>
                    <a:pt x="236" y="314"/>
                  </a:lnTo>
                  <a:lnTo>
                    <a:pt x="250" y="322"/>
                  </a:lnTo>
                  <a:lnTo>
                    <a:pt x="270" y="330"/>
                  </a:lnTo>
                  <a:lnTo>
                    <a:pt x="284" y="330"/>
                  </a:lnTo>
                  <a:lnTo>
                    <a:pt x="298" y="340"/>
                  </a:lnTo>
                  <a:lnTo>
                    <a:pt x="312" y="358"/>
                  </a:lnTo>
                  <a:lnTo>
                    <a:pt x="324" y="366"/>
                  </a:lnTo>
                  <a:lnTo>
                    <a:pt x="338" y="374"/>
                  </a:lnTo>
                  <a:lnTo>
                    <a:pt x="352" y="374"/>
                  </a:lnTo>
                  <a:lnTo>
                    <a:pt x="364" y="366"/>
                  </a:lnTo>
                  <a:lnTo>
                    <a:pt x="380" y="366"/>
                  </a:lnTo>
                  <a:lnTo>
                    <a:pt x="392" y="374"/>
                  </a:lnTo>
                  <a:lnTo>
                    <a:pt x="398" y="374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49"/>
            <p:cNvSpPr>
              <a:spLocks/>
            </p:cNvSpPr>
            <p:nvPr/>
          </p:nvSpPr>
          <p:spPr bwMode="auto">
            <a:xfrm>
              <a:off x="1218858" y="3030155"/>
              <a:ext cx="678648" cy="559063"/>
            </a:xfrm>
            <a:custGeom>
              <a:avLst/>
              <a:gdLst>
                <a:gd name="T0" fmla="*/ 412 w 454"/>
                <a:gd name="T1" fmla="*/ 358 h 374"/>
                <a:gd name="T2" fmla="*/ 426 w 454"/>
                <a:gd name="T3" fmla="*/ 330 h 374"/>
                <a:gd name="T4" fmla="*/ 446 w 454"/>
                <a:gd name="T5" fmla="*/ 314 h 374"/>
                <a:gd name="T6" fmla="*/ 454 w 454"/>
                <a:gd name="T7" fmla="*/ 278 h 374"/>
                <a:gd name="T8" fmla="*/ 440 w 454"/>
                <a:gd name="T9" fmla="*/ 244 h 374"/>
                <a:gd name="T10" fmla="*/ 446 w 454"/>
                <a:gd name="T11" fmla="*/ 208 h 374"/>
                <a:gd name="T12" fmla="*/ 420 w 454"/>
                <a:gd name="T13" fmla="*/ 208 h 374"/>
                <a:gd name="T14" fmla="*/ 398 w 454"/>
                <a:gd name="T15" fmla="*/ 200 h 374"/>
                <a:gd name="T16" fmla="*/ 372 w 454"/>
                <a:gd name="T17" fmla="*/ 182 h 374"/>
                <a:gd name="T18" fmla="*/ 344 w 454"/>
                <a:gd name="T19" fmla="*/ 158 h 374"/>
                <a:gd name="T20" fmla="*/ 344 w 454"/>
                <a:gd name="T21" fmla="*/ 122 h 374"/>
                <a:gd name="T22" fmla="*/ 344 w 454"/>
                <a:gd name="T23" fmla="*/ 86 h 374"/>
                <a:gd name="T24" fmla="*/ 338 w 454"/>
                <a:gd name="T25" fmla="*/ 52 h 374"/>
                <a:gd name="T26" fmla="*/ 324 w 454"/>
                <a:gd name="T27" fmla="*/ 42 h 374"/>
                <a:gd name="T28" fmla="*/ 298 w 454"/>
                <a:gd name="T29" fmla="*/ 34 h 374"/>
                <a:gd name="T30" fmla="*/ 270 w 454"/>
                <a:gd name="T31" fmla="*/ 26 h 374"/>
                <a:gd name="T32" fmla="*/ 242 w 454"/>
                <a:gd name="T33" fmla="*/ 8 h 374"/>
                <a:gd name="T34" fmla="*/ 216 w 454"/>
                <a:gd name="T35" fmla="*/ 0 h 374"/>
                <a:gd name="T36" fmla="*/ 188 w 454"/>
                <a:gd name="T37" fmla="*/ 8 h 374"/>
                <a:gd name="T38" fmla="*/ 168 w 454"/>
                <a:gd name="T39" fmla="*/ 34 h 374"/>
                <a:gd name="T40" fmla="*/ 150 w 454"/>
                <a:gd name="T41" fmla="*/ 60 h 374"/>
                <a:gd name="T42" fmla="*/ 122 w 454"/>
                <a:gd name="T43" fmla="*/ 52 h 374"/>
                <a:gd name="T44" fmla="*/ 106 w 454"/>
                <a:gd name="T45" fmla="*/ 86 h 374"/>
                <a:gd name="T46" fmla="*/ 94 w 454"/>
                <a:gd name="T47" fmla="*/ 96 h 374"/>
                <a:gd name="T48" fmla="*/ 72 w 454"/>
                <a:gd name="T49" fmla="*/ 106 h 374"/>
                <a:gd name="T50" fmla="*/ 40 w 454"/>
                <a:gd name="T51" fmla="*/ 96 h 374"/>
                <a:gd name="T52" fmla="*/ 14 w 454"/>
                <a:gd name="T53" fmla="*/ 96 h 374"/>
                <a:gd name="T54" fmla="*/ 0 w 454"/>
                <a:gd name="T55" fmla="*/ 124 h 374"/>
                <a:gd name="T56" fmla="*/ 44 w 454"/>
                <a:gd name="T57" fmla="*/ 116 h 374"/>
                <a:gd name="T58" fmla="*/ 72 w 454"/>
                <a:gd name="T59" fmla="*/ 118 h 374"/>
                <a:gd name="T60" fmla="*/ 80 w 454"/>
                <a:gd name="T61" fmla="*/ 132 h 374"/>
                <a:gd name="T62" fmla="*/ 88 w 454"/>
                <a:gd name="T63" fmla="*/ 166 h 374"/>
                <a:gd name="T64" fmla="*/ 88 w 454"/>
                <a:gd name="T65" fmla="*/ 200 h 374"/>
                <a:gd name="T66" fmla="*/ 94 w 454"/>
                <a:gd name="T67" fmla="*/ 236 h 374"/>
                <a:gd name="T68" fmla="*/ 122 w 454"/>
                <a:gd name="T69" fmla="*/ 278 h 374"/>
                <a:gd name="T70" fmla="*/ 150 w 454"/>
                <a:gd name="T71" fmla="*/ 296 h 374"/>
                <a:gd name="T72" fmla="*/ 182 w 454"/>
                <a:gd name="T73" fmla="*/ 304 h 374"/>
                <a:gd name="T74" fmla="*/ 210 w 454"/>
                <a:gd name="T75" fmla="*/ 304 h 374"/>
                <a:gd name="T76" fmla="*/ 236 w 454"/>
                <a:gd name="T77" fmla="*/ 314 h 374"/>
                <a:gd name="T78" fmla="*/ 270 w 454"/>
                <a:gd name="T79" fmla="*/ 330 h 374"/>
                <a:gd name="T80" fmla="*/ 298 w 454"/>
                <a:gd name="T81" fmla="*/ 340 h 374"/>
                <a:gd name="T82" fmla="*/ 324 w 454"/>
                <a:gd name="T83" fmla="*/ 366 h 374"/>
                <a:gd name="T84" fmla="*/ 352 w 454"/>
                <a:gd name="T85" fmla="*/ 374 h 374"/>
                <a:gd name="T86" fmla="*/ 380 w 454"/>
                <a:gd name="T87" fmla="*/ 366 h 374"/>
                <a:gd name="T88" fmla="*/ 398 w 454"/>
                <a:gd name="T89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4" h="374">
                  <a:moveTo>
                    <a:pt x="398" y="374"/>
                  </a:moveTo>
                  <a:lnTo>
                    <a:pt x="412" y="358"/>
                  </a:lnTo>
                  <a:lnTo>
                    <a:pt x="420" y="340"/>
                  </a:lnTo>
                  <a:lnTo>
                    <a:pt x="426" y="330"/>
                  </a:lnTo>
                  <a:lnTo>
                    <a:pt x="432" y="322"/>
                  </a:lnTo>
                  <a:lnTo>
                    <a:pt x="446" y="314"/>
                  </a:lnTo>
                  <a:lnTo>
                    <a:pt x="454" y="296"/>
                  </a:lnTo>
                  <a:lnTo>
                    <a:pt x="454" y="278"/>
                  </a:lnTo>
                  <a:lnTo>
                    <a:pt x="446" y="262"/>
                  </a:lnTo>
                  <a:lnTo>
                    <a:pt x="440" y="244"/>
                  </a:lnTo>
                  <a:lnTo>
                    <a:pt x="440" y="226"/>
                  </a:lnTo>
                  <a:lnTo>
                    <a:pt x="446" y="208"/>
                  </a:lnTo>
                  <a:lnTo>
                    <a:pt x="432" y="208"/>
                  </a:lnTo>
                  <a:lnTo>
                    <a:pt x="420" y="208"/>
                  </a:lnTo>
                  <a:lnTo>
                    <a:pt x="412" y="190"/>
                  </a:lnTo>
                  <a:lnTo>
                    <a:pt x="398" y="200"/>
                  </a:lnTo>
                  <a:lnTo>
                    <a:pt x="384" y="190"/>
                  </a:lnTo>
                  <a:lnTo>
                    <a:pt x="372" y="182"/>
                  </a:lnTo>
                  <a:lnTo>
                    <a:pt x="358" y="174"/>
                  </a:lnTo>
                  <a:lnTo>
                    <a:pt x="344" y="158"/>
                  </a:lnTo>
                  <a:lnTo>
                    <a:pt x="338" y="140"/>
                  </a:lnTo>
                  <a:lnTo>
                    <a:pt x="344" y="122"/>
                  </a:lnTo>
                  <a:lnTo>
                    <a:pt x="352" y="106"/>
                  </a:lnTo>
                  <a:lnTo>
                    <a:pt x="344" y="86"/>
                  </a:lnTo>
                  <a:lnTo>
                    <a:pt x="338" y="70"/>
                  </a:lnTo>
                  <a:lnTo>
                    <a:pt x="338" y="52"/>
                  </a:lnTo>
                  <a:lnTo>
                    <a:pt x="338" y="42"/>
                  </a:lnTo>
                  <a:lnTo>
                    <a:pt x="324" y="42"/>
                  </a:lnTo>
                  <a:lnTo>
                    <a:pt x="312" y="34"/>
                  </a:lnTo>
                  <a:lnTo>
                    <a:pt x="298" y="34"/>
                  </a:lnTo>
                  <a:lnTo>
                    <a:pt x="284" y="34"/>
                  </a:lnTo>
                  <a:lnTo>
                    <a:pt x="270" y="26"/>
                  </a:lnTo>
                  <a:lnTo>
                    <a:pt x="256" y="16"/>
                  </a:lnTo>
                  <a:lnTo>
                    <a:pt x="242" y="8"/>
                  </a:lnTo>
                  <a:lnTo>
                    <a:pt x="228" y="8"/>
                  </a:lnTo>
                  <a:lnTo>
                    <a:pt x="216" y="0"/>
                  </a:lnTo>
                  <a:lnTo>
                    <a:pt x="202" y="16"/>
                  </a:lnTo>
                  <a:lnTo>
                    <a:pt x="188" y="8"/>
                  </a:lnTo>
                  <a:lnTo>
                    <a:pt x="174" y="16"/>
                  </a:lnTo>
                  <a:lnTo>
                    <a:pt x="168" y="34"/>
                  </a:lnTo>
                  <a:lnTo>
                    <a:pt x="164" y="52"/>
                  </a:lnTo>
                  <a:lnTo>
                    <a:pt x="150" y="60"/>
                  </a:lnTo>
                  <a:lnTo>
                    <a:pt x="136" y="60"/>
                  </a:lnTo>
                  <a:lnTo>
                    <a:pt x="122" y="52"/>
                  </a:lnTo>
                  <a:lnTo>
                    <a:pt x="116" y="70"/>
                  </a:lnTo>
                  <a:lnTo>
                    <a:pt x="106" y="86"/>
                  </a:lnTo>
                  <a:lnTo>
                    <a:pt x="100" y="106"/>
                  </a:lnTo>
                  <a:lnTo>
                    <a:pt x="94" y="96"/>
                  </a:lnTo>
                  <a:lnTo>
                    <a:pt x="80" y="96"/>
                  </a:lnTo>
                  <a:lnTo>
                    <a:pt x="72" y="106"/>
                  </a:lnTo>
                  <a:lnTo>
                    <a:pt x="54" y="96"/>
                  </a:lnTo>
                  <a:lnTo>
                    <a:pt x="40" y="96"/>
                  </a:lnTo>
                  <a:lnTo>
                    <a:pt x="28" y="96"/>
                  </a:lnTo>
                  <a:lnTo>
                    <a:pt x="14" y="96"/>
                  </a:lnTo>
                  <a:lnTo>
                    <a:pt x="0" y="114"/>
                  </a:lnTo>
                  <a:lnTo>
                    <a:pt x="0" y="124"/>
                  </a:lnTo>
                  <a:lnTo>
                    <a:pt x="30" y="120"/>
                  </a:lnTo>
                  <a:lnTo>
                    <a:pt x="44" y="116"/>
                  </a:lnTo>
                  <a:lnTo>
                    <a:pt x="56" y="116"/>
                  </a:lnTo>
                  <a:lnTo>
                    <a:pt x="72" y="118"/>
                  </a:lnTo>
                  <a:lnTo>
                    <a:pt x="80" y="122"/>
                  </a:lnTo>
                  <a:lnTo>
                    <a:pt x="80" y="132"/>
                  </a:lnTo>
                  <a:lnTo>
                    <a:pt x="80" y="150"/>
                  </a:lnTo>
                  <a:lnTo>
                    <a:pt x="88" y="166"/>
                  </a:lnTo>
                  <a:lnTo>
                    <a:pt x="88" y="182"/>
                  </a:lnTo>
                  <a:lnTo>
                    <a:pt x="88" y="200"/>
                  </a:lnTo>
                  <a:lnTo>
                    <a:pt x="88" y="218"/>
                  </a:lnTo>
                  <a:lnTo>
                    <a:pt x="94" y="236"/>
                  </a:lnTo>
                  <a:lnTo>
                    <a:pt x="106" y="262"/>
                  </a:lnTo>
                  <a:lnTo>
                    <a:pt x="122" y="278"/>
                  </a:lnTo>
                  <a:lnTo>
                    <a:pt x="136" y="288"/>
                  </a:lnTo>
                  <a:lnTo>
                    <a:pt x="150" y="296"/>
                  </a:lnTo>
                  <a:lnTo>
                    <a:pt x="164" y="304"/>
                  </a:lnTo>
                  <a:lnTo>
                    <a:pt x="182" y="304"/>
                  </a:lnTo>
                  <a:lnTo>
                    <a:pt x="196" y="304"/>
                  </a:lnTo>
                  <a:lnTo>
                    <a:pt x="210" y="304"/>
                  </a:lnTo>
                  <a:lnTo>
                    <a:pt x="222" y="304"/>
                  </a:lnTo>
                  <a:lnTo>
                    <a:pt x="236" y="314"/>
                  </a:lnTo>
                  <a:lnTo>
                    <a:pt x="250" y="322"/>
                  </a:lnTo>
                  <a:lnTo>
                    <a:pt x="270" y="330"/>
                  </a:lnTo>
                  <a:lnTo>
                    <a:pt x="284" y="330"/>
                  </a:lnTo>
                  <a:lnTo>
                    <a:pt x="298" y="340"/>
                  </a:lnTo>
                  <a:lnTo>
                    <a:pt x="312" y="358"/>
                  </a:lnTo>
                  <a:lnTo>
                    <a:pt x="324" y="366"/>
                  </a:lnTo>
                  <a:lnTo>
                    <a:pt x="338" y="374"/>
                  </a:lnTo>
                  <a:lnTo>
                    <a:pt x="352" y="374"/>
                  </a:lnTo>
                  <a:lnTo>
                    <a:pt x="364" y="366"/>
                  </a:lnTo>
                  <a:lnTo>
                    <a:pt x="380" y="366"/>
                  </a:lnTo>
                  <a:lnTo>
                    <a:pt x="392" y="374"/>
                  </a:lnTo>
                  <a:lnTo>
                    <a:pt x="398" y="374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52"/>
            <p:cNvSpPr>
              <a:spLocks/>
            </p:cNvSpPr>
            <p:nvPr/>
          </p:nvSpPr>
          <p:spPr bwMode="auto">
            <a:xfrm>
              <a:off x="1721117" y="2967373"/>
              <a:ext cx="1106167" cy="1022457"/>
            </a:xfrm>
            <a:custGeom>
              <a:avLst/>
              <a:gdLst>
                <a:gd name="T0" fmla="*/ 210 w 740"/>
                <a:gd name="T1" fmla="*/ 34 h 684"/>
                <a:gd name="T2" fmla="*/ 196 w 740"/>
                <a:gd name="T3" fmla="*/ 76 h 684"/>
                <a:gd name="T4" fmla="*/ 142 w 740"/>
                <a:gd name="T5" fmla="*/ 86 h 684"/>
                <a:gd name="T6" fmla="*/ 88 w 740"/>
                <a:gd name="T7" fmla="*/ 76 h 684"/>
                <a:gd name="T8" fmla="*/ 34 w 740"/>
                <a:gd name="T9" fmla="*/ 86 h 684"/>
                <a:gd name="T10" fmla="*/ 0 w 740"/>
                <a:gd name="T11" fmla="*/ 86 h 684"/>
                <a:gd name="T12" fmla="*/ 0 w 740"/>
                <a:gd name="T13" fmla="*/ 114 h 684"/>
                <a:gd name="T14" fmla="*/ 8 w 740"/>
                <a:gd name="T15" fmla="*/ 164 h 684"/>
                <a:gd name="T16" fmla="*/ 22 w 740"/>
                <a:gd name="T17" fmla="*/ 218 h 684"/>
                <a:gd name="T18" fmla="*/ 62 w 740"/>
                <a:gd name="T19" fmla="*/ 242 h 684"/>
                <a:gd name="T20" fmla="*/ 96 w 740"/>
                <a:gd name="T21" fmla="*/ 250 h 684"/>
                <a:gd name="T22" fmla="*/ 102 w 740"/>
                <a:gd name="T23" fmla="*/ 286 h 684"/>
                <a:gd name="T24" fmla="*/ 118 w 740"/>
                <a:gd name="T25" fmla="*/ 338 h 684"/>
                <a:gd name="T26" fmla="*/ 88 w 740"/>
                <a:gd name="T27" fmla="*/ 372 h 684"/>
                <a:gd name="T28" fmla="*/ 62 w 740"/>
                <a:gd name="T29" fmla="*/ 416 h 684"/>
                <a:gd name="T30" fmla="*/ 82 w 740"/>
                <a:gd name="T31" fmla="*/ 442 h 684"/>
                <a:gd name="T32" fmla="*/ 74 w 740"/>
                <a:gd name="T33" fmla="*/ 502 h 684"/>
                <a:gd name="T34" fmla="*/ 82 w 740"/>
                <a:gd name="T35" fmla="*/ 552 h 684"/>
                <a:gd name="T36" fmla="*/ 134 w 740"/>
                <a:gd name="T37" fmla="*/ 562 h 684"/>
                <a:gd name="T38" fmla="*/ 176 w 740"/>
                <a:gd name="T39" fmla="*/ 572 h 684"/>
                <a:gd name="T40" fmla="*/ 210 w 740"/>
                <a:gd name="T41" fmla="*/ 596 h 684"/>
                <a:gd name="T42" fmla="*/ 230 w 740"/>
                <a:gd name="T43" fmla="*/ 640 h 684"/>
                <a:gd name="T44" fmla="*/ 252 w 740"/>
                <a:gd name="T45" fmla="*/ 676 h 684"/>
                <a:gd name="T46" fmla="*/ 284 w 740"/>
                <a:gd name="T47" fmla="*/ 666 h 684"/>
                <a:gd name="T48" fmla="*/ 326 w 740"/>
                <a:gd name="T49" fmla="*/ 632 h 684"/>
                <a:gd name="T50" fmla="*/ 372 w 740"/>
                <a:gd name="T51" fmla="*/ 632 h 684"/>
                <a:gd name="T52" fmla="*/ 422 w 740"/>
                <a:gd name="T53" fmla="*/ 648 h 684"/>
                <a:gd name="T54" fmla="*/ 466 w 740"/>
                <a:gd name="T55" fmla="*/ 648 h 684"/>
                <a:gd name="T56" fmla="*/ 514 w 740"/>
                <a:gd name="T57" fmla="*/ 632 h 684"/>
                <a:gd name="T58" fmla="*/ 514 w 740"/>
                <a:gd name="T59" fmla="*/ 684 h 684"/>
                <a:gd name="T60" fmla="*/ 548 w 740"/>
                <a:gd name="T61" fmla="*/ 666 h 684"/>
                <a:gd name="T62" fmla="*/ 562 w 740"/>
                <a:gd name="T63" fmla="*/ 614 h 684"/>
                <a:gd name="T64" fmla="*/ 590 w 740"/>
                <a:gd name="T65" fmla="*/ 562 h 684"/>
                <a:gd name="T66" fmla="*/ 624 w 740"/>
                <a:gd name="T67" fmla="*/ 536 h 684"/>
                <a:gd name="T68" fmla="*/ 650 w 740"/>
                <a:gd name="T69" fmla="*/ 492 h 684"/>
                <a:gd name="T70" fmla="*/ 684 w 740"/>
                <a:gd name="T71" fmla="*/ 468 h 684"/>
                <a:gd name="T72" fmla="*/ 704 w 740"/>
                <a:gd name="T73" fmla="*/ 416 h 684"/>
                <a:gd name="T74" fmla="*/ 710 w 740"/>
                <a:gd name="T75" fmla="*/ 362 h 684"/>
                <a:gd name="T76" fmla="*/ 704 w 740"/>
                <a:gd name="T77" fmla="*/ 310 h 684"/>
                <a:gd name="T78" fmla="*/ 710 w 740"/>
                <a:gd name="T79" fmla="*/ 258 h 684"/>
                <a:gd name="T80" fmla="*/ 704 w 740"/>
                <a:gd name="T81" fmla="*/ 206 h 684"/>
                <a:gd name="T82" fmla="*/ 724 w 740"/>
                <a:gd name="T83" fmla="*/ 164 h 684"/>
                <a:gd name="T84" fmla="*/ 726 w 740"/>
                <a:gd name="T85" fmla="*/ 146 h 684"/>
                <a:gd name="T86" fmla="*/ 664 w 740"/>
                <a:gd name="T87" fmla="*/ 156 h 684"/>
                <a:gd name="T88" fmla="*/ 604 w 740"/>
                <a:gd name="T89" fmla="*/ 146 h 684"/>
                <a:gd name="T90" fmla="*/ 536 w 740"/>
                <a:gd name="T91" fmla="*/ 146 h 684"/>
                <a:gd name="T92" fmla="*/ 482 w 740"/>
                <a:gd name="T93" fmla="*/ 146 h 684"/>
                <a:gd name="T94" fmla="*/ 414 w 740"/>
                <a:gd name="T95" fmla="*/ 146 h 684"/>
                <a:gd name="T96" fmla="*/ 354 w 740"/>
                <a:gd name="T97" fmla="*/ 138 h 684"/>
                <a:gd name="T98" fmla="*/ 314 w 740"/>
                <a:gd name="T99" fmla="*/ 138 h 684"/>
                <a:gd name="T100" fmla="*/ 286 w 740"/>
                <a:gd name="T101" fmla="*/ 104 h 684"/>
                <a:gd name="T102" fmla="*/ 252 w 740"/>
                <a:gd name="T103" fmla="*/ 70 h 684"/>
                <a:gd name="T104" fmla="*/ 238 w 740"/>
                <a:gd name="T105" fmla="*/ 16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0" h="684">
                  <a:moveTo>
                    <a:pt x="230" y="0"/>
                  </a:moveTo>
                  <a:lnTo>
                    <a:pt x="214" y="16"/>
                  </a:lnTo>
                  <a:lnTo>
                    <a:pt x="210" y="34"/>
                  </a:lnTo>
                  <a:lnTo>
                    <a:pt x="202" y="52"/>
                  </a:lnTo>
                  <a:lnTo>
                    <a:pt x="202" y="70"/>
                  </a:lnTo>
                  <a:lnTo>
                    <a:pt x="196" y="76"/>
                  </a:lnTo>
                  <a:lnTo>
                    <a:pt x="182" y="76"/>
                  </a:lnTo>
                  <a:lnTo>
                    <a:pt x="162" y="86"/>
                  </a:lnTo>
                  <a:lnTo>
                    <a:pt x="142" y="86"/>
                  </a:lnTo>
                  <a:lnTo>
                    <a:pt x="128" y="86"/>
                  </a:lnTo>
                  <a:lnTo>
                    <a:pt x="108" y="76"/>
                  </a:lnTo>
                  <a:lnTo>
                    <a:pt x="88" y="76"/>
                  </a:lnTo>
                  <a:lnTo>
                    <a:pt x="68" y="86"/>
                  </a:lnTo>
                  <a:lnTo>
                    <a:pt x="54" y="86"/>
                  </a:lnTo>
                  <a:lnTo>
                    <a:pt x="34" y="86"/>
                  </a:lnTo>
                  <a:lnTo>
                    <a:pt x="20" y="86"/>
                  </a:lnTo>
                  <a:lnTo>
                    <a:pt x="8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94"/>
                  </a:lnTo>
                  <a:lnTo>
                    <a:pt x="0" y="114"/>
                  </a:lnTo>
                  <a:lnTo>
                    <a:pt x="8" y="130"/>
                  </a:lnTo>
                  <a:lnTo>
                    <a:pt x="14" y="148"/>
                  </a:lnTo>
                  <a:lnTo>
                    <a:pt x="8" y="164"/>
                  </a:lnTo>
                  <a:lnTo>
                    <a:pt x="0" y="182"/>
                  </a:lnTo>
                  <a:lnTo>
                    <a:pt x="8" y="198"/>
                  </a:lnTo>
                  <a:lnTo>
                    <a:pt x="22" y="218"/>
                  </a:lnTo>
                  <a:lnTo>
                    <a:pt x="36" y="224"/>
                  </a:lnTo>
                  <a:lnTo>
                    <a:pt x="48" y="234"/>
                  </a:lnTo>
                  <a:lnTo>
                    <a:pt x="62" y="242"/>
                  </a:lnTo>
                  <a:lnTo>
                    <a:pt x="76" y="234"/>
                  </a:lnTo>
                  <a:lnTo>
                    <a:pt x="82" y="250"/>
                  </a:lnTo>
                  <a:lnTo>
                    <a:pt x="96" y="250"/>
                  </a:lnTo>
                  <a:lnTo>
                    <a:pt x="110" y="250"/>
                  </a:lnTo>
                  <a:lnTo>
                    <a:pt x="102" y="268"/>
                  </a:lnTo>
                  <a:lnTo>
                    <a:pt x="102" y="286"/>
                  </a:lnTo>
                  <a:lnTo>
                    <a:pt x="110" y="304"/>
                  </a:lnTo>
                  <a:lnTo>
                    <a:pt x="118" y="320"/>
                  </a:lnTo>
                  <a:lnTo>
                    <a:pt x="118" y="338"/>
                  </a:lnTo>
                  <a:lnTo>
                    <a:pt x="110" y="356"/>
                  </a:lnTo>
                  <a:lnTo>
                    <a:pt x="96" y="364"/>
                  </a:lnTo>
                  <a:lnTo>
                    <a:pt x="88" y="372"/>
                  </a:lnTo>
                  <a:lnTo>
                    <a:pt x="82" y="380"/>
                  </a:lnTo>
                  <a:lnTo>
                    <a:pt x="76" y="398"/>
                  </a:lnTo>
                  <a:lnTo>
                    <a:pt x="62" y="416"/>
                  </a:lnTo>
                  <a:lnTo>
                    <a:pt x="60" y="416"/>
                  </a:lnTo>
                  <a:lnTo>
                    <a:pt x="68" y="422"/>
                  </a:lnTo>
                  <a:lnTo>
                    <a:pt x="82" y="442"/>
                  </a:lnTo>
                  <a:lnTo>
                    <a:pt x="82" y="458"/>
                  </a:lnTo>
                  <a:lnTo>
                    <a:pt x="74" y="474"/>
                  </a:lnTo>
                  <a:lnTo>
                    <a:pt x="74" y="502"/>
                  </a:lnTo>
                  <a:lnTo>
                    <a:pt x="68" y="520"/>
                  </a:lnTo>
                  <a:lnTo>
                    <a:pt x="74" y="536"/>
                  </a:lnTo>
                  <a:lnTo>
                    <a:pt x="82" y="552"/>
                  </a:lnTo>
                  <a:lnTo>
                    <a:pt x="102" y="562"/>
                  </a:lnTo>
                  <a:lnTo>
                    <a:pt x="122" y="562"/>
                  </a:lnTo>
                  <a:lnTo>
                    <a:pt x="134" y="562"/>
                  </a:lnTo>
                  <a:lnTo>
                    <a:pt x="150" y="572"/>
                  </a:lnTo>
                  <a:lnTo>
                    <a:pt x="162" y="572"/>
                  </a:lnTo>
                  <a:lnTo>
                    <a:pt x="176" y="572"/>
                  </a:lnTo>
                  <a:lnTo>
                    <a:pt x="190" y="572"/>
                  </a:lnTo>
                  <a:lnTo>
                    <a:pt x="210" y="580"/>
                  </a:lnTo>
                  <a:lnTo>
                    <a:pt x="210" y="596"/>
                  </a:lnTo>
                  <a:lnTo>
                    <a:pt x="210" y="614"/>
                  </a:lnTo>
                  <a:lnTo>
                    <a:pt x="218" y="632"/>
                  </a:lnTo>
                  <a:lnTo>
                    <a:pt x="230" y="640"/>
                  </a:lnTo>
                  <a:lnTo>
                    <a:pt x="244" y="640"/>
                  </a:lnTo>
                  <a:lnTo>
                    <a:pt x="252" y="658"/>
                  </a:lnTo>
                  <a:lnTo>
                    <a:pt x="252" y="676"/>
                  </a:lnTo>
                  <a:lnTo>
                    <a:pt x="256" y="676"/>
                  </a:lnTo>
                  <a:lnTo>
                    <a:pt x="272" y="676"/>
                  </a:lnTo>
                  <a:lnTo>
                    <a:pt x="284" y="666"/>
                  </a:lnTo>
                  <a:lnTo>
                    <a:pt x="298" y="658"/>
                  </a:lnTo>
                  <a:lnTo>
                    <a:pt x="312" y="640"/>
                  </a:lnTo>
                  <a:lnTo>
                    <a:pt x="326" y="632"/>
                  </a:lnTo>
                  <a:lnTo>
                    <a:pt x="340" y="632"/>
                  </a:lnTo>
                  <a:lnTo>
                    <a:pt x="360" y="632"/>
                  </a:lnTo>
                  <a:lnTo>
                    <a:pt x="372" y="632"/>
                  </a:lnTo>
                  <a:lnTo>
                    <a:pt x="386" y="640"/>
                  </a:lnTo>
                  <a:lnTo>
                    <a:pt x="406" y="648"/>
                  </a:lnTo>
                  <a:lnTo>
                    <a:pt x="422" y="648"/>
                  </a:lnTo>
                  <a:lnTo>
                    <a:pt x="440" y="648"/>
                  </a:lnTo>
                  <a:lnTo>
                    <a:pt x="452" y="648"/>
                  </a:lnTo>
                  <a:lnTo>
                    <a:pt x="466" y="648"/>
                  </a:lnTo>
                  <a:lnTo>
                    <a:pt x="488" y="640"/>
                  </a:lnTo>
                  <a:lnTo>
                    <a:pt x="502" y="640"/>
                  </a:lnTo>
                  <a:lnTo>
                    <a:pt x="514" y="632"/>
                  </a:lnTo>
                  <a:lnTo>
                    <a:pt x="514" y="648"/>
                  </a:lnTo>
                  <a:lnTo>
                    <a:pt x="514" y="666"/>
                  </a:lnTo>
                  <a:lnTo>
                    <a:pt x="514" y="684"/>
                  </a:lnTo>
                  <a:lnTo>
                    <a:pt x="528" y="684"/>
                  </a:lnTo>
                  <a:lnTo>
                    <a:pt x="542" y="684"/>
                  </a:lnTo>
                  <a:lnTo>
                    <a:pt x="548" y="666"/>
                  </a:lnTo>
                  <a:lnTo>
                    <a:pt x="542" y="648"/>
                  </a:lnTo>
                  <a:lnTo>
                    <a:pt x="548" y="632"/>
                  </a:lnTo>
                  <a:lnTo>
                    <a:pt x="562" y="614"/>
                  </a:lnTo>
                  <a:lnTo>
                    <a:pt x="568" y="596"/>
                  </a:lnTo>
                  <a:lnTo>
                    <a:pt x="582" y="580"/>
                  </a:lnTo>
                  <a:lnTo>
                    <a:pt x="590" y="562"/>
                  </a:lnTo>
                  <a:lnTo>
                    <a:pt x="596" y="544"/>
                  </a:lnTo>
                  <a:lnTo>
                    <a:pt x="610" y="544"/>
                  </a:lnTo>
                  <a:lnTo>
                    <a:pt x="624" y="536"/>
                  </a:lnTo>
                  <a:lnTo>
                    <a:pt x="638" y="526"/>
                  </a:lnTo>
                  <a:lnTo>
                    <a:pt x="638" y="510"/>
                  </a:lnTo>
                  <a:lnTo>
                    <a:pt x="650" y="492"/>
                  </a:lnTo>
                  <a:lnTo>
                    <a:pt x="662" y="484"/>
                  </a:lnTo>
                  <a:lnTo>
                    <a:pt x="678" y="484"/>
                  </a:lnTo>
                  <a:lnTo>
                    <a:pt x="684" y="468"/>
                  </a:lnTo>
                  <a:lnTo>
                    <a:pt x="684" y="450"/>
                  </a:lnTo>
                  <a:lnTo>
                    <a:pt x="690" y="432"/>
                  </a:lnTo>
                  <a:lnTo>
                    <a:pt x="704" y="416"/>
                  </a:lnTo>
                  <a:lnTo>
                    <a:pt x="704" y="398"/>
                  </a:lnTo>
                  <a:lnTo>
                    <a:pt x="704" y="380"/>
                  </a:lnTo>
                  <a:lnTo>
                    <a:pt x="710" y="362"/>
                  </a:lnTo>
                  <a:lnTo>
                    <a:pt x="710" y="346"/>
                  </a:lnTo>
                  <a:lnTo>
                    <a:pt x="704" y="328"/>
                  </a:lnTo>
                  <a:lnTo>
                    <a:pt x="704" y="310"/>
                  </a:lnTo>
                  <a:lnTo>
                    <a:pt x="704" y="294"/>
                  </a:lnTo>
                  <a:lnTo>
                    <a:pt x="704" y="278"/>
                  </a:lnTo>
                  <a:lnTo>
                    <a:pt x="710" y="258"/>
                  </a:lnTo>
                  <a:lnTo>
                    <a:pt x="704" y="242"/>
                  </a:lnTo>
                  <a:lnTo>
                    <a:pt x="704" y="224"/>
                  </a:lnTo>
                  <a:lnTo>
                    <a:pt x="704" y="206"/>
                  </a:lnTo>
                  <a:lnTo>
                    <a:pt x="710" y="198"/>
                  </a:lnTo>
                  <a:lnTo>
                    <a:pt x="718" y="180"/>
                  </a:lnTo>
                  <a:lnTo>
                    <a:pt x="724" y="164"/>
                  </a:lnTo>
                  <a:lnTo>
                    <a:pt x="740" y="146"/>
                  </a:lnTo>
                  <a:lnTo>
                    <a:pt x="740" y="146"/>
                  </a:lnTo>
                  <a:lnTo>
                    <a:pt x="726" y="146"/>
                  </a:lnTo>
                  <a:lnTo>
                    <a:pt x="706" y="146"/>
                  </a:lnTo>
                  <a:lnTo>
                    <a:pt x="686" y="156"/>
                  </a:lnTo>
                  <a:lnTo>
                    <a:pt x="664" y="156"/>
                  </a:lnTo>
                  <a:lnTo>
                    <a:pt x="646" y="156"/>
                  </a:lnTo>
                  <a:lnTo>
                    <a:pt x="624" y="156"/>
                  </a:lnTo>
                  <a:lnTo>
                    <a:pt x="604" y="146"/>
                  </a:lnTo>
                  <a:lnTo>
                    <a:pt x="584" y="146"/>
                  </a:lnTo>
                  <a:lnTo>
                    <a:pt x="556" y="146"/>
                  </a:lnTo>
                  <a:lnTo>
                    <a:pt x="536" y="146"/>
                  </a:lnTo>
                  <a:lnTo>
                    <a:pt x="516" y="146"/>
                  </a:lnTo>
                  <a:lnTo>
                    <a:pt x="502" y="146"/>
                  </a:lnTo>
                  <a:lnTo>
                    <a:pt x="482" y="146"/>
                  </a:lnTo>
                  <a:lnTo>
                    <a:pt x="462" y="146"/>
                  </a:lnTo>
                  <a:lnTo>
                    <a:pt x="436" y="146"/>
                  </a:lnTo>
                  <a:lnTo>
                    <a:pt x="414" y="146"/>
                  </a:lnTo>
                  <a:lnTo>
                    <a:pt x="394" y="146"/>
                  </a:lnTo>
                  <a:lnTo>
                    <a:pt x="374" y="146"/>
                  </a:lnTo>
                  <a:lnTo>
                    <a:pt x="354" y="138"/>
                  </a:lnTo>
                  <a:lnTo>
                    <a:pt x="340" y="138"/>
                  </a:lnTo>
                  <a:lnTo>
                    <a:pt x="326" y="146"/>
                  </a:lnTo>
                  <a:lnTo>
                    <a:pt x="314" y="138"/>
                  </a:lnTo>
                  <a:lnTo>
                    <a:pt x="306" y="122"/>
                  </a:lnTo>
                  <a:lnTo>
                    <a:pt x="292" y="122"/>
                  </a:lnTo>
                  <a:lnTo>
                    <a:pt x="286" y="104"/>
                  </a:lnTo>
                  <a:lnTo>
                    <a:pt x="272" y="86"/>
                  </a:lnTo>
                  <a:lnTo>
                    <a:pt x="258" y="86"/>
                  </a:lnTo>
                  <a:lnTo>
                    <a:pt x="252" y="70"/>
                  </a:lnTo>
                  <a:lnTo>
                    <a:pt x="252" y="52"/>
                  </a:lnTo>
                  <a:lnTo>
                    <a:pt x="244" y="34"/>
                  </a:lnTo>
                  <a:lnTo>
                    <a:pt x="238" y="16"/>
                  </a:lnTo>
                  <a:lnTo>
                    <a:pt x="232" y="8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53"/>
            <p:cNvSpPr>
              <a:spLocks/>
            </p:cNvSpPr>
            <p:nvPr/>
          </p:nvSpPr>
          <p:spPr bwMode="auto">
            <a:xfrm>
              <a:off x="1721117" y="2967373"/>
              <a:ext cx="1106167" cy="1022457"/>
            </a:xfrm>
            <a:custGeom>
              <a:avLst/>
              <a:gdLst>
                <a:gd name="T0" fmla="*/ 210 w 740"/>
                <a:gd name="T1" fmla="*/ 34 h 684"/>
                <a:gd name="T2" fmla="*/ 196 w 740"/>
                <a:gd name="T3" fmla="*/ 76 h 684"/>
                <a:gd name="T4" fmla="*/ 142 w 740"/>
                <a:gd name="T5" fmla="*/ 86 h 684"/>
                <a:gd name="T6" fmla="*/ 88 w 740"/>
                <a:gd name="T7" fmla="*/ 76 h 684"/>
                <a:gd name="T8" fmla="*/ 34 w 740"/>
                <a:gd name="T9" fmla="*/ 86 h 684"/>
                <a:gd name="T10" fmla="*/ 0 w 740"/>
                <a:gd name="T11" fmla="*/ 86 h 684"/>
                <a:gd name="T12" fmla="*/ 0 w 740"/>
                <a:gd name="T13" fmla="*/ 114 h 684"/>
                <a:gd name="T14" fmla="*/ 8 w 740"/>
                <a:gd name="T15" fmla="*/ 164 h 684"/>
                <a:gd name="T16" fmla="*/ 22 w 740"/>
                <a:gd name="T17" fmla="*/ 218 h 684"/>
                <a:gd name="T18" fmla="*/ 62 w 740"/>
                <a:gd name="T19" fmla="*/ 242 h 684"/>
                <a:gd name="T20" fmla="*/ 96 w 740"/>
                <a:gd name="T21" fmla="*/ 250 h 684"/>
                <a:gd name="T22" fmla="*/ 102 w 740"/>
                <a:gd name="T23" fmla="*/ 286 h 684"/>
                <a:gd name="T24" fmla="*/ 118 w 740"/>
                <a:gd name="T25" fmla="*/ 338 h 684"/>
                <a:gd name="T26" fmla="*/ 88 w 740"/>
                <a:gd name="T27" fmla="*/ 372 h 684"/>
                <a:gd name="T28" fmla="*/ 62 w 740"/>
                <a:gd name="T29" fmla="*/ 416 h 684"/>
                <a:gd name="T30" fmla="*/ 82 w 740"/>
                <a:gd name="T31" fmla="*/ 442 h 684"/>
                <a:gd name="T32" fmla="*/ 74 w 740"/>
                <a:gd name="T33" fmla="*/ 502 h 684"/>
                <a:gd name="T34" fmla="*/ 82 w 740"/>
                <a:gd name="T35" fmla="*/ 552 h 684"/>
                <a:gd name="T36" fmla="*/ 134 w 740"/>
                <a:gd name="T37" fmla="*/ 562 h 684"/>
                <a:gd name="T38" fmla="*/ 176 w 740"/>
                <a:gd name="T39" fmla="*/ 572 h 684"/>
                <a:gd name="T40" fmla="*/ 210 w 740"/>
                <a:gd name="T41" fmla="*/ 596 h 684"/>
                <a:gd name="T42" fmla="*/ 230 w 740"/>
                <a:gd name="T43" fmla="*/ 640 h 684"/>
                <a:gd name="T44" fmla="*/ 252 w 740"/>
                <a:gd name="T45" fmla="*/ 676 h 684"/>
                <a:gd name="T46" fmla="*/ 284 w 740"/>
                <a:gd name="T47" fmla="*/ 666 h 684"/>
                <a:gd name="T48" fmla="*/ 326 w 740"/>
                <a:gd name="T49" fmla="*/ 632 h 684"/>
                <a:gd name="T50" fmla="*/ 372 w 740"/>
                <a:gd name="T51" fmla="*/ 632 h 684"/>
                <a:gd name="T52" fmla="*/ 422 w 740"/>
                <a:gd name="T53" fmla="*/ 648 h 684"/>
                <a:gd name="T54" fmla="*/ 466 w 740"/>
                <a:gd name="T55" fmla="*/ 648 h 684"/>
                <a:gd name="T56" fmla="*/ 514 w 740"/>
                <a:gd name="T57" fmla="*/ 632 h 684"/>
                <a:gd name="T58" fmla="*/ 514 w 740"/>
                <a:gd name="T59" fmla="*/ 684 h 684"/>
                <a:gd name="T60" fmla="*/ 548 w 740"/>
                <a:gd name="T61" fmla="*/ 666 h 684"/>
                <a:gd name="T62" fmla="*/ 562 w 740"/>
                <a:gd name="T63" fmla="*/ 614 h 684"/>
                <a:gd name="T64" fmla="*/ 590 w 740"/>
                <a:gd name="T65" fmla="*/ 562 h 684"/>
                <a:gd name="T66" fmla="*/ 624 w 740"/>
                <a:gd name="T67" fmla="*/ 536 h 684"/>
                <a:gd name="T68" fmla="*/ 650 w 740"/>
                <a:gd name="T69" fmla="*/ 492 h 684"/>
                <a:gd name="T70" fmla="*/ 684 w 740"/>
                <a:gd name="T71" fmla="*/ 468 h 684"/>
                <a:gd name="T72" fmla="*/ 704 w 740"/>
                <a:gd name="T73" fmla="*/ 416 h 684"/>
                <a:gd name="T74" fmla="*/ 710 w 740"/>
                <a:gd name="T75" fmla="*/ 362 h 684"/>
                <a:gd name="T76" fmla="*/ 704 w 740"/>
                <a:gd name="T77" fmla="*/ 310 h 684"/>
                <a:gd name="T78" fmla="*/ 710 w 740"/>
                <a:gd name="T79" fmla="*/ 258 h 684"/>
                <a:gd name="T80" fmla="*/ 704 w 740"/>
                <a:gd name="T81" fmla="*/ 206 h 684"/>
                <a:gd name="T82" fmla="*/ 724 w 740"/>
                <a:gd name="T83" fmla="*/ 164 h 684"/>
                <a:gd name="T84" fmla="*/ 726 w 740"/>
                <a:gd name="T85" fmla="*/ 146 h 684"/>
                <a:gd name="T86" fmla="*/ 664 w 740"/>
                <a:gd name="T87" fmla="*/ 156 h 684"/>
                <a:gd name="T88" fmla="*/ 604 w 740"/>
                <a:gd name="T89" fmla="*/ 146 h 684"/>
                <a:gd name="T90" fmla="*/ 536 w 740"/>
                <a:gd name="T91" fmla="*/ 146 h 684"/>
                <a:gd name="T92" fmla="*/ 482 w 740"/>
                <a:gd name="T93" fmla="*/ 146 h 684"/>
                <a:gd name="T94" fmla="*/ 414 w 740"/>
                <a:gd name="T95" fmla="*/ 146 h 684"/>
                <a:gd name="T96" fmla="*/ 354 w 740"/>
                <a:gd name="T97" fmla="*/ 138 h 684"/>
                <a:gd name="T98" fmla="*/ 314 w 740"/>
                <a:gd name="T99" fmla="*/ 138 h 684"/>
                <a:gd name="T100" fmla="*/ 286 w 740"/>
                <a:gd name="T101" fmla="*/ 104 h 684"/>
                <a:gd name="T102" fmla="*/ 252 w 740"/>
                <a:gd name="T103" fmla="*/ 70 h 684"/>
                <a:gd name="T104" fmla="*/ 238 w 740"/>
                <a:gd name="T105" fmla="*/ 16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0" h="684">
                  <a:moveTo>
                    <a:pt x="230" y="0"/>
                  </a:moveTo>
                  <a:lnTo>
                    <a:pt x="214" y="16"/>
                  </a:lnTo>
                  <a:lnTo>
                    <a:pt x="210" y="34"/>
                  </a:lnTo>
                  <a:lnTo>
                    <a:pt x="202" y="52"/>
                  </a:lnTo>
                  <a:lnTo>
                    <a:pt x="202" y="70"/>
                  </a:lnTo>
                  <a:lnTo>
                    <a:pt x="196" y="76"/>
                  </a:lnTo>
                  <a:lnTo>
                    <a:pt x="182" y="76"/>
                  </a:lnTo>
                  <a:lnTo>
                    <a:pt x="162" y="86"/>
                  </a:lnTo>
                  <a:lnTo>
                    <a:pt x="142" y="86"/>
                  </a:lnTo>
                  <a:lnTo>
                    <a:pt x="128" y="86"/>
                  </a:lnTo>
                  <a:lnTo>
                    <a:pt x="108" y="76"/>
                  </a:lnTo>
                  <a:lnTo>
                    <a:pt x="88" y="76"/>
                  </a:lnTo>
                  <a:lnTo>
                    <a:pt x="68" y="86"/>
                  </a:lnTo>
                  <a:lnTo>
                    <a:pt x="54" y="86"/>
                  </a:lnTo>
                  <a:lnTo>
                    <a:pt x="34" y="86"/>
                  </a:lnTo>
                  <a:lnTo>
                    <a:pt x="20" y="86"/>
                  </a:lnTo>
                  <a:lnTo>
                    <a:pt x="8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94"/>
                  </a:lnTo>
                  <a:lnTo>
                    <a:pt x="0" y="114"/>
                  </a:lnTo>
                  <a:lnTo>
                    <a:pt x="8" y="130"/>
                  </a:lnTo>
                  <a:lnTo>
                    <a:pt x="14" y="148"/>
                  </a:lnTo>
                  <a:lnTo>
                    <a:pt x="8" y="164"/>
                  </a:lnTo>
                  <a:lnTo>
                    <a:pt x="0" y="182"/>
                  </a:lnTo>
                  <a:lnTo>
                    <a:pt x="8" y="198"/>
                  </a:lnTo>
                  <a:lnTo>
                    <a:pt x="22" y="218"/>
                  </a:lnTo>
                  <a:lnTo>
                    <a:pt x="36" y="224"/>
                  </a:lnTo>
                  <a:lnTo>
                    <a:pt x="48" y="234"/>
                  </a:lnTo>
                  <a:lnTo>
                    <a:pt x="62" y="242"/>
                  </a:lnTo>
                  <a:lnTo>
                    <a:pt x="76" y="234"/>
                  </a:lnTo>
                  <a:lnTo>
                    <a:pt x="82" y="250"/>
                  </a:lnTo>
                  <a:lnTo>
                    <a:pt x="96" y="250"/>
                  </a:lnTo>
                  <a:lnTo>
                    <a:pt x="110" y="250"/>
                  </a:lnTo>
                  <a:lnTo>
                    <a:pt x="102" y="268"/>
                  </a:lnTo>
                  <a:lnTo>
                    <a:pt x="102" y="286"/>
                  </a:lnTo>
                  <a:lnTo>
                    <a:pt x="110" y="304"/>
                  </a:lnTo>
                  <a:lnTo>
                    <a:pt x="118" y="320"/>
                  </a:lnTo>
                  <a:lnTo>
                    <a:pt x="118" y="338"/>
                  </a:lnTo>
                  <a:lnTo>
                    <a:pt x="110" y="356"/>
                  </a:lnTo>
                  <a:lnTo>
                    <a:pt x="96" y="364"/>
                  </a:lnTo>
                  <a:lnTo>
                    <a:pt x="88" y="372"/>
                  </a:lnTo>
                  <a:lnTo>
                    <a:pt x="82" y="380"/>
                  </a:lnTo>
                  <a:lnTo>
                    <a:pt x="76" y="398"/>
                  </a:lnTo>
                  <a:lnTo>
                    <a:pt x="62" y="416"/>
                  </a:lnTo>
                  <a:lnTo>
                    <a:pt x="60" y="416"/>
                  </a:lnTo>
                  <a:lnTo>
                    <a:pt x="68" y="422"/>
                  </a:lnTo>
                  <a:lnTo>
                    <a:pt x="82" y="442"/>
                  </a:lnTo>
                  <a:lnTo>
                    <a:pt x="82" y="458"/>
                  </a:lnTo>
                  <a:lnTo>
                    <a:pt x="74" y="474"/>
                  </a:lnTo>
                  <a:lnTo>
                    <a:pt x="74" y="502"/>
                  </a:lnTo>
                  <a:lnTo>
                    <a:pt x="68" y="520"/>
                  </a:lnTo>
                  <a:lnTo>
                    <a:pt x="74" y="536"/>
                  </a:lnTo>
                  <a:lnTo>
                    <a:pt x="82" y="552"/>
                  </a:lnTo>
                  <a:lnTo>
                    <a:pt x="102" y="562"/>
                  </a:lnTo>
                  <a:lnTo>
                    <a:pt x="122" y="562"/>
                  </a:lnTo>
                  <a:lnTo>
                    <a:pt x="134" y="562"/>
                  </a:lnTo>
                  <a:lnTo>
                    <a:pt x="150" y="572"/>
                  </a:lnTo>
                  <a:lnTo>
                    <a:pt x="162" y="572"/>
                  </a:lnTo>
                  <a:lnTo>
                    <a:pt x="176" y="572"/>
                  </a:lnTo>
                  <a:lnTo>
                    <a:pt x="190" y="572"/>
                  </a:lnTo>
                  <a:lnTo>
                    <a:pt x="210" y="580"/>
                  </a:lnTo>
                  <a:lnTo>
                    <a:pt x="210" y="596"/>
                  </a:lnTo>
                  <a:lnTo>
                    <a:pt x="210" y="614"/>
                  </a:lnTo>
                  <a:lnTo>
                    <a:pt x="218" y="632"/>
                  </a:lnTo>
                  <a:lnTo>
                    <a:pt x="230" y="640"/>
                  </a:lnTo>
                  <a:lnTo>
                    <a:pt x="244" y="640"/>
                  </a:lnTo>
                  <a:lnTo>
                    <a:pt x="252" y="658"/>
                  </a:lnTo>
                  <a:lnTo>
                    <a:pt x="252" y="676"/>
                  </a:lnTo>
                  <a:lnTo>
                    <a:pt x="256" y="676"/>
                  </a:lnTo>
                  <a:lnTo>
                    <a:pt x="272" y="676"/>
                  </a:lnTo>
                  <a:lnTo>
                    <a:pt x="284" y="666"/>
                  </a:lnTo>
                  <a:lnTo>
                    <a:pt x="298" y="658"/>
                  </a:lnTo>
                  <a:lnTo>
                    <a:pt x="312" y="640"/>
                  </a:lnTo>
                  <a:lnTo>
                    <a:pt x="326" y="632"/>
                  </a:lnTo>
                  <a:lnTo>
                    <a:pt x="340" y="632"/>
                  </a:lnTo>
                  <a:lnTo>
                    <a:pt x="360" y="632"/>
                  </a:lnTo>
                  <a:lnTo>
                    <a:pt x="372" y="632"/>
                  </a:lnTo>
                  <a:lnTo>
                    <a:pt x="386" y="640"/>
                  </a:lnTo>
                  <a:lnTo>
                    <a:pt x="406" y="648"/>
                  </a:lnTo>
                  <a:lnTo>
                    <a:pt x="422" y="648"/>
                  </a:lnTo>
                  <a:lnTo>
                    <a:pt x="440" y="648"/>
                  </a:lnTo>
                  <a:lnTo>
                    <a:pt x="452" y="648"/>
                  </a:lnTo>
                  <a:lnTo>
                    <a:pt x="466" y="648"/>
                  </a:lnTo>
                  <a:lnTo>
                    <a:pt x="488" y="640"/>
                  </a:lnTo>
                  <a:lnTo>
                    <a:pt x="502" y="640"/>
                  </a:lnTo>
                  <a:lnTo>
                    <a:pt x="514" y="632"/>
                  </a:lnTo>
                  <a:lnTo>
                    <a:pt x="514" y="648"/>
                  </a:lnTo>
                  <a:lnTo>
                    <a:pt x="514" y="666"/>
                  </a:lnTo>
                  <a:lnTo>
                    <a:pt x="514" y="684"/>
                  </a:lnTo>
                  <a:lnTo>
                    <a:pt x="528" y="684"/>
                  </a:lnTo>
                  <a:lnTo>
                    <a:pt x="542" y="684"/>
                  </a:lnTo>
                  <a:lnTo>
                    <a:pt x="548" y="666"/>
                  </a:lnTo>
                  <a:lnTo>
                    <a:pt x="542" y="648"/>
                  </a:lnTo>
                  <a:lnTo>
                    <a:pt x="548" y="632"/>
                  </a:lnTo>
                  <a:lnTo>
                    <a:pt x="562" y="614"/>
                  </a:lnTo>
                  <a:lnTo>
                    <a:pt x="568" y="596"/>
                  </a:lnTo>
                  <a:lnTo>
                    <a:pt x="582" y="580"/>
                  </a:lnTo>
                  <a:lnTo>
                    <a:pt x="590" y="562"/>
                  </a:lnTo>
                  <a:lnTo>
                    <a:pt x="596" y="544"/>
                  </a:lnTo>
                  <a:lnTo>
                    <a:pt x="610" y="544"/>
                  </a:lnTo>
                  <a:lnTo>
                    <a:pt x="624" y="536"/>
                  </a:lnTo>
                  <a:lnTo>
                    <a:pt x="638" y="526"/>
                  </a:lnTo>
                  <a:lnTo>
                    <a:pt x="638" y="510"/>
                  </a:lnTo>
                  <a:lnTo>
                    <a:pt x="650" y="492"/>
                  </a:lnTo>
                  <a:lnTo>
                    <a:pt x="662" y="484"/>
                  </a:lnTo>
                  <a:lnTo>
                    <a:pt x="678" y="484"/>
                  </a:lnTo>
                  <a:lnTo>
                    <a:pt x="684" y="468"/>
                  </a:lnTo>
                  <a:lnTo>
                    <a:pt x="684" y="450"/>
                  </a:lnTo>
                  <a:lnTo>
                    <a:pt x="690" y="432"/>
                  </a:lnTo>
                  <a:lnTo>
                    <a:pt x="704" y="416"/>
                  </a:lnTo>
                  <a:lnTo>
                    <a:pt x="704" y="398"/>
                  </a:lnTo>
                  <a:lnTo>
                    <a:pt x="704" y="380"/>
                  </a:lnTo>
                  <a:lnTo>
                    <a:pt x="710" y="362"/>
                  </a:lnTo>
                  <a:lnTo>
                    <a:pt x="710" y="346"/>
                  </a:lnTo>
                  <a:lnTo>
                    <a:pt x="704" y="328"/>
                  </a:lnTo>
                  <a:lnTo>
                    <a:pt x="704" y="310"/>
                  </a:lnTo>
                  <a:lnTo>
                    <a:pt x="704" y="294"/>
                  </a:lnTo>
                  <a:lnTo>
                    <a:pt x="704" y="278"/>
                  </a:lnTo>
                  <a:lnTo>
                    <a:pt x="710" y="258"/>
                  </a:lnTo>
                  <a:lnTo>
                    <a:pt x="704" y="242"/>
                  </a:lnTo>
                  <a:lnTo>
                    <a:pt x="704" y="224"/>
                  </a:lnTo>
                  <a:lnTo>
                    <a:pt x="704" y="206"/>
                  </a:lnTo>
                  <a:lnTo>
                    <a:pt x="710" y="198"/>
                  </a:lnTo>
                  <a:lnTo>
                    <a:pt x="718" y="180"/>
                  </a:lnTo>
                  <a:lnTo>
                    <a:pt x="724" y="164"/>
                  </a:lnTo>
                  <a:lnTo>
                    <a:pt x="740" y="146"/>
                  </a:lnTo>
                  <a:lnTo>
                    <a:pt x="740" y="146"/>
                  </a:lnTo>
                  <a:lnTo>
                    <a:pt x="726" y="146"/>
                  </a:lnTo>
                  <a:lnTo>
                    <a:pt x="706" y="146"/>
                  </a:lnTo>
                  <a:lnTo>
                    <a:pt x="686" y="156"/>
                  </a:lnTo>
                  <a:lnTo>
                    <a:pt x="664" y="156"/>
                  </a:lnTo>
                  <a:lnTo>
                    <a:pt x="646" y="156"/>
                  </a:lnTo>
                  <a:lnTo>
                    <a:pt x="624" y="156"/>
                  </a:lnTo>
                  <a:lnTo>
                    <a:pt x="604" y="146"/>
                  </a:lnTo>
                  <a:lnTo>
                    <a:pt x="584" y="146"/>
                  </a:lnTo>
                  <a:lnTo>
                    <a:pt x="556" y="146"/>
                  </a:lnTo>
                  <a:lnTo>
                    <a:pt x="536" y="146"/>
                  </a:lnTo>
                  <a:lnTo>
                    <a:pt x="516" y="146"/>
                  </a:lnTo>
                  <a:lnTo>
                    <a:pt x="502" y="146"/>
                  </a:lnTo>
                  <a:lnTo>
                    <a:pt x="482" y="146"/>
                  </a:lnTo>
                  <a:lnTo>
                    <a:pt x="462" y="146"/>
                  </a:lnTo>
                  <a:lnTo>
                    <a:pt x="436" y="146"/>
                  </a:lnTo>
                  <a:lnTo>
                    <a:pt x="414" y="146"/>
                  </a:lnTo>
                  <a:lnTo>
                    <a:pt x="394" y="146"/>
                  </a:lnTo>
                  <a:lnTo>
                    <a:pt x="374" y="146"/>
                  </a:lnTo>
                  <a:lnTo>
                    <a:pt x="354" y="138"/>
                  </a:lnTo>
                  <a:lnTo>
                    <a:pt x="340" y="138"/>
                  </a:lnTo>
                  <a:lnTo>
                    <a:pt x="326" y="146"/>
                  </a:lnTo>
                  <a:lnTo>
                    <a:pt x="314" y="138"/>
                  </a:lnTo>
                  <a:lnTo>
                    <a:pt x="306" y="122"/>
                  </a:lnTo>
                  <a:lnTo>
                    <a:pt x="292" y="122"/>
                  </a:lnTo>
                  <a:lnTo>
                    <a:pt x="286" y="104"/>
                  </a:lnTo>
                  <a:lnTo>
                    <a:pt x="272" y="86"/>
                  </a:lnTo>
                  <a:lnTo>
                    <a:pt x="258" y="86"/>
                  </a:lnTo>
                  <a:lnTo>
                    <a:pt x="252" y="70"/>
                  </a:lnTo>
                  <a:lnTo>
                    <a:pt x="252" y="52"/>
                  </a:lnTo>
                  <a:lnTo>
                    <a:pt x="244" y="34"/>
                  </a:lnTo>
                  <a:lnTo>
                    <a:pt x="238" y="16"/>
                  </a:lnTo>
                  <a:lnTo>
                    <a:pt x="232" y="8"/>
                  </a:lnTo>
                  <a:lnTo>
                    <a:pt x="230" y="0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59"/>
            <p:cNvSpPr>
              <a:spLocks/>
            </p:cNvSpPr>
            <p:nvPr/>
          </p:nvSpPr>
          <p:spPr bwMode="auto">
            <a:xfrm>
              <a:off x="3966337" y="2707274"/>
              <a:ext cx="343809" cy="233192"/>
            </a:xfrm>
            <a:custGeom>
              <a:avLst/>
              <a:gdLst>
                <a:gd name="T0" fmla="*/ 230 w 230"/>
                <a:gd name="T1" fmla="*/ 130 h 156"/>
                <a:gd name="T2" fmla="*/ 230 w 230"/>
                <a:gd name="T3" fmla="*/ 120 h 156"/>
                <a:gd name="T4" fmla="*/ 230 w 230"/>
                <a:gd name="T5" fmla="*/ 104 h 156"/>
                <a:gd name="T6" fmla="*/ 230 w 230"/>
                <a:gd name="T7" fmla="*/ 86 h 156"/>
                <a:gd name="T8" fmla="*/ 222 w 230"/>
                <a:gd name="T9" fmla="*/ 70 h 156"/>
                <a:gd name="T10" fmla="*/ 216 w 230"/>
                <a:gd name="T11" fmla="*/ 52 h 156"/>
                <a:gd name="T12" fmla="*/ 204 w 230"/>
                <a:gd name="T13" fmla="*/ 42 h 156"/>
                <a:gd name="T14" fmla="*/ 190 w 230"/>
                <a:gd name="T15" fmla="*/ 34 h 156"/>
                <a:gd name="T16" fmla="*/ 176 w 230"/>
                <a:gd name="T17" fmla="*/ 34 h 156"/>
                <a:gd name="T18" fmla="*/ 162 w 230"/>
                <a:gd name="T19" fmla="*/ 26 h 156"/>
                <a:gd name="T20" fmla="*/ 148 w 230"/>
                <a:gd name="T21" fmla="*/ 26 h 156"/>
                <a:gd name="T22" fmla="*/ 134 w 230"/>
                <a:gd name="T23" fmla="*/ 26 h 156"/>
                <a:gd name="T24" fmla="*/ 120 w 230"/>
                <a:gd name="T25" fmla="*/ 26 h 156"/>
                <a:gd name="T26" fmla="*/ 108 w 230"/>
                <a:gd name="T27" fmla="*/ 26 h 156"/>
                <a:gd name="T28" fmla="*/ 94 w 230"/>
                <a:gd name="T29" fmla="*/ 8 h 156"/>
                <a:gd name="T30" fmla="*/ 88 w 230"/>
                <a:gd name="T31" fmla="*/ 0 h 156"/>
                <a:gd name="T32" fmla="*/ 74 w 230"/>
                <a:gd name="T33" fmla="*/ 8 h 156"/>
                <a:gd name="T34" fmla="*/ 60 w 230"/>
                <a:gd name="T35" fmla="*/ 16 h 156"/>
                <a:gd name="T36" fmla="*/ 52 w 230"/>
                <a:gd name="T37" fmla="*/ 34 h 156"/>
                <a:gd name="T38" fmla="*/ 46 w 230"/>
                <a:gd name="T39" fmla="*/ 52 h 156"/>
                <a:gd name="T40" fmla="*/ 38 w 230"/>
                <a:gd name="T41" fmla="*/ 70 h 156"/>
                <a:gd name="T42" fmla="*/ 26 w 230"/>
                <a:gd name="T43" fmla="*/ 70 h 156"/>
                <a:gd name="T44" fmla="*/ 14 w 230"/>
                <a:gd name="T45" fmla="*/ 78 h 156"/>
                <a:gd name="T46" fmla="*/ 0 w 230"/>
                <a:gd name="T47" fmla="*/ 94 h 156"/>
                <a:gd name="T48" fmla="*/ 14 w 230"/>
                <a:gd name="T49" fmla="*/ 112 h 156"/>
                <a:gd name="T50" fmla="*/ 26 w 230"/>
                <a:gd name="T51" fmla="*/ 120 h 156"/>
                <a:gd name="T52" fmla="*/ 38 w 230"/>
                <a:gd name="T53" fmla="*/ 112 h 156"/>
                <a:gd name="T54" fmla="*/ 52 w 230"/>
                <a:gd name="T55" fmla="*/ 112 h 156"/>
                <a:gd name="T56" fmla="*/ 66 w 230"/>
                <a:gd name="T57" fmla="*/ 104 h 156"/>
                <a:gd name="T58" fmla="*/ 80 w 230"/>
                <a:gd name="T59" fmla="*/ 94 h 156"/>
                <a:gd name="T60" fmla="*/ 88 w 230"/>
                <a:gd name="T61" fmla="*/ 112 h 156"/>
                <a:gd name="T62" fmla="*/ 74 w 230"/>
                <a:gd name="T63" fmla="*/ 120 h 156"/>
                <a:gd name="T64" fmla="*/ 74 w 230"/>
                <a:gd name="T65" fmla="*/ 138 h 156"/>
                <a:gd name="T66" fmla="*/ 88 w 230"/>
                <a:gd name="T67" fmla="*/ 148 h 156"/>
                <a:gd name="T68" fmla="*/ 102 w 230"/>
                <a:gd name="T69" fmla="*/ 138 h 156"/>
                <a:gd name="T70" fmla="*/ 114 w 230"/>
                <a:gd name="T71" fmla="*/ 148 h 156"/>
                <a:gd name="T72" fmla="*/ 128 w 230"/>
                <a:gd name="T73" fmla="*/ 156 h 156"/>
                <a:gd name="T74" fmla="*/ 134 w 230"/>
                <a:gd name="T75" fmla="*/ 148 h 156"/>
                <a:gd name="T76" fmla="*/ 134 w 230"/>
                <a:gd name="T77" fmla="*/ 130 h 156"/>
                <a:gd name="T78" fmla="*/ 148 w 230"/>
                <a:gd name="T79" fmla="*/ 120 h 156"/>
                <a:gd name="T80" fmla="*/ 162 w 230"/>
                <a:gd name="T81" fmla="*/ 130 h 156"/>
                <a:gd name="T82" fmla="*/ 176 w 230"/>
                <a:gd name="T83" fmla="*/ 130 h 156"/>
                <a:gd name="T84" fmla="*/ 190 w 230"/>
                <a:gd name="T85" fmla="*/ 120 h 156"/>
                <a:gd name="T86" fmla="*/ 204 w 230"/>
                <a:gd name="T87" fmla="*/ 138 h 156"/>
                <a:gd name="T88" fmla="*/ 216 w 230"/>
                <a:gd name="T89" fmla="*/ 138 h 156"/>
                <a:gd name="T90" fmla="*/ 230 w 230"/>
                <a:gd name="T91" fmla="*/ 13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0" h="156">
                  <a:moveTo>
                    <a:pt x="230" y="130"/>
                  </a:moveTo>
                  <a:lnTo>
                    <a:pt x="230" y="120"/>
                  </a:lnTo>
                  <a:lnTo>
                    <a:pt x="230" y="104"/>
                  </a:lnTo>
                  <a:lnTo>
                    <a:pt x="230" y="86"/>
                  </a:lnTo>
                  <a:lnTo>
                    <a:pt x="222" y="70"/>
                  </a:lnTo>
                  <a:lnTo>
                    <a:pt x="216" y="52"/>
                  </a:lnTo>
                  <a:lnTo>
                    <a:pt x="204" y="42"/>
                  </a:lnTo>
                  <a:lnTo>
                    <a:pt x="190" y="34"/>
                  </a:lnTo>
                  <a:lnTo>
                    <a:pt x="176" y="34"/>
                  </a:lnTo>
                  <a:lnTo>
                    <a:pt x="162" y="26"/>
                  </a:lnTo>
                  <a:lnTo>
                    <a:pt x="148" y="26"/>
                  </a:lnTo>
                  <a:lnTo>
                    <a:pt x="134" y="26"/>
                  </a:lnTo>
                  <a:lnTo>
                    <a:pt x="120" y="26"/>
                  </a:lnTo>
                  <a:lnTo>
                    <a:pt x="108" y="26"/>
                  </a:lnTo>
                  <a:lnTo>
                    <a:pt x="94" y="8"/>
                  </a:lnTo>
                  <a:lnTo>
                    <a:pt x="88" y="0"/>
                  </a:lnTo>
                  <a:lnTo>
                    <a:pt x="74" y="8"/>
                  </a:lnTo>
                  <a:lnTo>
                    <a:pt x="60" y="16"/>
                  </a:lnTo>
                  <a:lnTo>
                    <a:pt x="52" y="34"/>
                  </a:lnTo>
                  <a:lnTo>
                    <a:pt x="46" y="52"/>
                  </a:lnTo>
                  <a:lnTo>
                    <a:pt x="38" y="70"/>
                  </a:lnTo>
                  <a:lnTo>
                    <a:pt x="26" y="70"/>
                  </a:lnTo>
                  <a:lnTo>
                    <a:pt x="14" y="78"/>
                  </a:lnTo>
                  <a:lnTo>
                    <a:pt x="0" y="94"/>
                  </a:lnTo>
                  <a:lnTo>
                    <a:pt x="14" y="112"/>
                  </a:lnTo>
                  <a:lnTo>
                    <a:pt x="26" y="120"/>
                  </a:lnTo>
                  <a:lnTo>
                    <a:pt x="38" y="112"/>
                  </a:lnTo>
                  <a:lnTo>
                    <a:pt x="52" y="112"/>
                  </a:lnTo>
                  <a:lnTo>
                    <a:pt x="66" y="104"/>
                  </a:lnTo>
                  <a:lnTo>
                    <a:pt x="80" y="94"/>
                  </a:lnTo>
                  <a:lnTo>
                    <a:pt x="88" y="112"/>
                  </a:lnTo>
                  <a:lnTo>
                    <a:pt x="74" y="120"/>
                  </a:lnTo>
                  <a:lnTo>
                    <a:pt x="74" y="138"/>
                  </a:lnTo>
                  <a:lnTo>
                    <a:pt x="88" y="148"/>
                  </a:lnTo>
                  <a:lnTo>
                    <a:pt x="102" y="138"/>
                  </a:lnTo>
                  <a:lnTo>
                    <a:pt x="114" y="148"/>
                  </a:lnTo>
                  <a:lnTo>
                    <a:pt x="128" y="156"/>
                  </a:lnTo>
                  <a:lnTo>
                    <a:pt x="134" y="148"/>
                  </a:lnTo>
                  <a:lnTo>
                    <a:pt x="134" y="130"/>
                  </a:lnTo>
                  <a:lnTo>
                    <a:pt x="148" y="120"/>
                  </a:lnTo>
                  <a:lnTo>
                    <a:pt x="162" y="130"/>
                  </a:lnTo>
                  <a:lnTo>
                    <a:pt x="176" y="130"/>
                  </a:lnTo>
                  <a:lnTo>
                    <a:pt x="190" y="120"/>
                  </a:lnTo>
                  <a:lnTo>
                    <a:pt x="204" y="138"/>
                  </a:lnTo>
                  <a:lnTo>
                    <a:pt x="216" y="138"/>
                  </a:lnTo>
                  <a:lnTo>
                    <a:pt x="230" y="130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62"/>
            <p:cNvSpPr>
              <a:spLocks/>
            </p:cNvSpPr>
            <p:nvPr/>
          </p:nvSpPr>
          <p:spPr bwMode="auto">
            <a:xfrm>
              <a:off x="3993244" y="3131803"/>
              <a:ext cx="307933" cy="263088"/>
            </a:xfrm>
            <a:custGeom>
              <a:avLst/>
              <a:gdLst>
                <a:gd name="T0" fmla="*/ 2 w 206"/>
                <a:gd name="T1" fmla="*/ 28 h 176"/>
                <a:gd name="T2" fmla="*/ 16 w 206"/>
                <a:gd name="T3" fmla="*/ 8 h 176"/>
                <a:gd name="T4" fmla="*/ 28 w 206"/>
                <a:gd name="T5" fmla="*/ 8 h 176"/>
                <a:gd name="T6" fmla="*/ 42 w 206"/>
                <a:gd name="T7" fmla="*/ 8 h 176"/>
                <a:gd name="T8" fmla="*/ 56 w 206"/>
                <a:gd name="T9" fmla="*/ 28 h 176"/>
                <a:gd name="T10" fmla="*/ 70 w 206"/>
                <a:gd name="T11" fmla="*/ 36 h 176"/>
                <a:gd name="T12" fmla="*/ 84 w 206"/>
                <a:gd name="T13" fmla="*/ 36 h 176"/>
                <a:gd name="T14" fmla="*/ 98 w 206"/>
                <a:gd name="T15" fmla="*/ 36 h 176"/>
                <a:gd name="T16" fmla="*/ 112 w 206"/>
                <a:gd name="T17" fmla="*/ 36 h 176"/>
                <a:gd name="T18" fmla="*/ 124 w 206"/>
                <a:gd name="T19" fmla="*/ 28 h 176"/>
                <a:gd name="T20" fmla="*/ 138 w 206"/>
                <a:gd name="T21" fmla="*/ 18 h 176"/>
                <a:gd name="T22" fmla="*/ 150 w 206"/>
                <a:gd name="T23" fmla="*/ 0 h 176"/>
                <a:gd name="T24" fmla="*/ 164 w 206"/>
                <a:gd name="T25" fmla="*/ 0 h 176"/>
                <a:gd name="T26" fmla="*/ 178 w 206"/>
                <a:gd name="T27" fmla="*/ 0 h 176"/>
                <a:gd name="T28" fmla="*/ 192 w 206"/>
                <a:gd name="T29" fmla="*/ 0 h 176"/>
                <a:gd name="T30" fmla="*/ 206 w 206"/>
                <a:gd name="T31" fmla="*/ 8 h 176"/>
                <a:gd name="T32" fmla="*/ 204 w 206"/>
                <a:gd name="T33" fmla="*/ 12 h 176"/>
                <a:gd name="T34" fmla="*/ 200 w 206"/>
                <a:gd name="T35" fmla="*/ 18 h 176"/>
                <a:gd name="T36" fmla="*/ 186 w 206"/>
                <a:gd name="T37" fmla="*/ 38 h 176"/>
                <a:gd name="T38" fmla="*/ 172 w 206"/>
                <a:gd name="T39" fmla="*/ 54 h 176"/>
                <a:gd name="T40" fmla="*/ 158 w 206"/>
                <a:gd name="T41" fmla="*/ 64 h 176"/>
                <a:gd name="T42" fmla="*/ 144 w 206"/>
                <a:gd name="T43" fmla="*/ 82 h 176"/>
                <a:gd name="T44" fmla="*/ 130 w 206"/>
                <a:gd name="T45" fmla="*/ 90 h 176"/>
                <a:gd name="T46" fmla="*/ 124 w 206"/>
                <a:gd name="T47" fmla="*/ 106 h 176"/>
                <a:gd name="T48" fmla="*/ 110 w 206"/>
                <a:gd name="T49" fmla="*/ 116 h 176"/>
                <a:gd name="T50" fmla="*/ 112 w 206"/>
                <a:gd name="T51" fmla="*/ 118 h 176"/>
                <a:gd name="T52" fmla="*/ 104 w 206"/>
                <a:gd name="T53" fmla="*/ 124 h 176"/>
                <a:gd name="T54" fmla="*/ 90 w 206"/>
                <a:gd name="T55" fmla="*/ 128 h 176"/>
                <a:gd name="T56" fmla="*/ 78 w 206"/>
                <a:gd name="T57" fmla="*/ 140 h 176"/>
                <a:gd name="T58" fmla="*/ 62 w 206"/>
                <a:gd name="T59" fmla="*/ 160 h 176"/>
                <a:gd name="T60" fmla="*/ 56 w 206"/>
                <a:gd name="T61" fmla="*/ 176 h 176"/>
                <a:gd name="T62" fmla="*/ 52 w 206"/>
                <a:gd name="T63" fmla="*/ 176 h 176"/>
                <a:gd name="T64" fmla="*/ 48 w 206"/>
                <a:gd name="T65" fmla="*/ 176 h 176"/>
                <a:gd name="T66" fmla="*/ 34 w 206"/>
                <a:gd name="T67" fmla="*/ 176 h 176"/>
                <a:gd name="T68" fmla="*/ 22 w 206"/>
                <a:gd name="T69" fmla="*/ 168 h 176"/>
                <a:gd name="T70" fmla="*/ 8 w 206"/>
                <a:gd name="T71" fmla="*/ 160 h 176"/>
                <a:gd name="T72" fmla="*/ 0 w 206"/>
                <a:gd name="T73" fmla="*/ 140 h 176"/>
                <a:gd name="T74" fmla="*/ 0 w 206"/>
                <a:gd name="T75" fmla="*/ 124 h 176"/>
                <a:gd name="T76" fmla="*/ 14 w 206"/>
                <a:gd name="T77" fmla="*/ 124 h 176"/>
                <a:gd name="T78" fmla="*/ 22 w 206"/>
                <a:gd name="T79" fmla="*/ 106 h 176"/>
                <a:gd name="T80" fmla="*/ 28 w 206"/>
                <a:gd name="T81" fmla="*/ 90 h 176"/>
                <a:gd name="T82" fmla="*/ 28 w 206"/>
                <a:gd name="T83" fmla="*/ 72 h 176"/>
                <a:gd name="T84" fmla="*/ 14 w 206"/>
                <a:gd name="T85" fmla="*/ 64 h 176"/>
                <a:gd name="T86" fmla="*/ 0 w 206"/>
                <a:gd name="T87" fmla="*/ 32 h 176"/>
                <a:gd name="T88" fmla="*/ 2 w 206"/>
                <a:gd name="T89" fmla="*/ 2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" h="176">
                  <a:moveTo>
                    <a:pt x="2" y="28"/>
                  </a:moveTo>
                  <a:lnTo>
                    <a:pt x="16" y="8"/>
                  </a:lnTo>
                  <a:lnTo>
                    <a:pt x="28" y="8"/>
                  </a:lnTo>
                  <a:lnTo>
                    <a:pt x="42" y="8"/>
                  </a:lnTo>
                  <a:lnTo>
                    <a:pt x="56" y="28"/>
                  </a:lnTo>
                  <a:lnTo>
                    <a:pt x="70" y="36"/>
                  </a:lnTo>
                  <a:lnTo>
                    <a:pt x="84" y="36"/>
                  </a:lnTo>
                  <a:lnTo>
                    <a:pt x="98" y="36"/>
                  </a:lnTo>
                  <a:lnTo>
                    <a:pt x="112" y="36"/>
                  </a:lnTo>
                  <a:lnTo>
                    <a:pt x="124" y="28"/>
                  </a:lnTo>
                  <a:lnTo>
                    <a:pt x="138" y="18"/>
                  </a:lnTo>
                  <a:lnTo>
                    <a:pt x="150" y="0"/>
                  </a:lnTo>
                  <a:lnTo>
                    <a:pt x="164" y="0"/>
                  </a:lnTo>
                  <a:lnTo>
                    <a:pt x="178" y="0"/>
                  </a:lnTo>
                  <a:lnTo>
                    <a:pt x="192" y="0"/>
                  </a:lnTo>
                  <a:lnTo>
                    <a:pt x="206" y="8"/>
                  </a:lnTo>
                  <a:lnTo>
                    <a:pt x="204" y="12"/>
                  </a:lnTo>
                  <a:lnTo>
                    <a:pt x="200" y="18"/>
                  </a:lnTo>
                  <a:lnTo>
                    <a:pt x="186" y="38"/>
                  </a:lnTo>
                  <a:lnTo>
                    <a:pt x="172" y="54"/>
                  </a:lnTo>
                  <a:lnTo>
                    <a:pt x="158" y="64"/>
                  </a:lnTo>
                  <a:lnTo>
                    <a:pt x="144" y="82"/>
                  </a:lnTo>
                  <a:lnTo>
                    <a:pt x="130" y="90"/>
                  </a:lnTo>
                  <a:lnTo>
                    <a:pt x="124" y="106"/>
                  </a:lnTo>
                  <a:lnTo>
                    <a:pt x="110" y="116"/>
                  </a:lnTo>
                  <a:lnTo>
                    <a:pt x="112" y="118"/>
                  </a:lnTo>
                  <a:lnTo>
                    <a:pt x="104" y="124"/>
                  </a:lnTo>
                  <a:lnTo>
                    <a:pt x="90" y="128"/>
                  </a:lnTo>
                  <a:lnTo>
                    <a:pt x="78" y="140"/>
                  </a:lnTo>
                  <a:lnTo>
                    <a:pt x="62" y="160"/>
                  </a:lnTo>
                  <a:lnTo>
                    <a:pt x="56" y="176"/>
                  </a:lnTo>
                  <a:lnTo>
                    <a:pt x="52" y="176"/>
                  </a:lnTo>
                  <a:lnTo>
                    <a:pt x="48" y="176"/>
                  </a:lnTo>
                  <a:lnTo>
                    <a:pt x="34" y="176"/>
                  </a:lnTo>
                  <a:lnTo>
                    <a:pt x="22" y="168"/>
                  </a:lnTo>
                  <a:lnTo>
                    <a:pt x="8" y="160"/>
                  </a:lnTo>
                  <a:lnTo>
                    <a:pt x="0" y="140"/>
                  </a:lnTo>
                  <a:lnTo>
                    <a:pt x="0" y="124"/>
                  </a:lnTo>
                  <a:lnTo>
                    <a:pt x="14" y="124"/>
                  </a:lnTo>
                  <a:lnTo>
                    <a:pt x="22" y="106"/>
                  </a:lnTo>
                  <a:lnTo>
                    <a:pt x="28" y="90"/>
                  </a:lnTo>
                  <a:lnTo>
                    <a:pt x="28" y="72"/>
                  </a:lnTo>
                  <a:lnTo>
                    <a:pt x="14" y="64"/>
                  </a:lnTo>
                  <a:lnTo>
                    <a:pt x="0" y="32"/>
                  </a:lnTo>
                  <a:lnTo>
                    <a:pt x="2" y="28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3"/>
            <p:cNvSpPr>
              <a:spLocks/>
            </p:cNvSpPr>
            <p:nvPr/>
          </p:nvSpPr>
          <p:spPr bwMode="auto">
            <a:xfrm>
              <a:off x="3993244" y="3131803"/>
              <a:ext cx="307933" cy="263088"/>
            </a:xfrm>
            <a:custGeom>
              <a:avLst/>
              <a:gdLst>
                <a:gd name="T0" fmla="*/ 2 w 206"/>
                <a:gd name="T1" fmla="*/ 28 h 176"/>
                <a:gd name="T2" fmla="*/ 16 w 206"/>
                <a:gd name="T3" fmla="*/ 8 h 176"/>
                <a:gd name="T4" fmla="*/ 28 w 206"/>
                <a:gd name="T5" fmla="*/ 8 h 176"/>
                <a:gd name="T6" fmla="*/ 42 w 206"/>
                <a:gd name="T7" fmla="*/ 8 h 176"/>
                <a:gd name="T8" fmla="*/ 56 w 206"/>
                <a:gd name="T9" fmla="*/ 28 h 176"/>
                <a:gd name="T10" fmla="*/ 70 w 206"/>
                <a:gd name="T11" fmla="*/ 36 h 176"/>
                <a:gd name="T12" fmla="*/ 84 w 206"/>
                <a:gd name="T13" fmla="*/ 36 h 176"/>
                <a:gd name="T14" fmla="*/ 98 w 206"/>
                <a:gd name="T15" fmla="*/ 36 h 176"/>
                <a:gd name="T16" fmla="*/ 112 w 206"/>
                <a:gd name="T17" fmla="*/ 36 h 176"/>
                <a:gd name="T18" fmla="*/ 124 w 206"/>
                <a:gd name="T19" fmla="*/ 28 h 176"/>
                <a:gd name="T20" fmla="*/ 138 w 206"/>
                <a:gd name="T21" fmla="*/ 18 h 176"/>
                <a:gd name="T22" fmla="*/ 150 w 206"/>
                <a:gd name="T23" fmla="*/ 0 h 176"/>
                <a:gd name="T24" fmla="*/ 164 w 206"/>
                <a:gd name="T25" fmla="*/ 0 h 176"/>
                <a:gd name="T26" fmla="*/ 178 w 206"/>
                <a:gd name="T27" fmla="*/ 0 h 176"/>
                <a:gd name="T28" fmla="*/ 192 w 206"/>
                <a:gd name="T29" fmla="*/ 0 h 176"/>
                <a:gd name="T30" fmla="*/ 206 w 206"/>
                <a:gd name="T31" fmla="*/ 8 h 176"/>
                <a:gd name="T32" fmla="*/ 204 w 206"/>
                <a:gd name="T33" fmla="*/ 12 h 176"/>
                <a:gd name="T34" fmla="*/ 200 w 206"/>
                <a:gd name="T35" fmla="*/ 18 h 176"/>
                <a:gd name="T36" fmla="*/ 186 w 206"/>
                <a:gd name="T37" fmla="*/ 38 h 176"/>
                <a:gd name="T38" fmla="*/ 172 w 206"/>
                <a:gd name="T39" fmla="*/ 54 h 176"/>
                <a:gd name="T40" fmla="*/ 158 w 206"/>
                <a:gd name="T41" fmla="*/ 64 h 176"/>
                <a:gd name="T42" fmla="*/ 144 w 206"/>
                <a:gd name="T43" fmla="*/ 82 h 176"/>
                <a:gd name="T44" fmla="*/ 130 w 206"/>
                <a:gd name="T45" fmla="*/ 90 h 176"/>
                <a:gd name="T46" fmla="*/ 124 w 206"/>
                <a:gd name="T47" fmla="*/ 106 h 176"/>
                <a:gd name="T48" fmla="*/ 110 w 206"/>
                <a:gd name="T49" fmla="*/ 116 h 176"/>
                <a:gd name="T50" fmla="*/ 112 w 206"/>
                <a:gd name="T51" fmla="*/ 118 h 176"/>
                <a:gd name="T52" fmla="*/ 104 w 206"/>
                <a:gd name="T53" fmla="*/ 124 h 176"/>
                <a:gd name="T54" fmla="*/ 90 w 206"/>
                <a:gd name="T55" fmla="*/ 128 h 176"/>
                <a:gd name="T56" fmla="*/ 78 w 206"/>
                <a:gd name="T57" fmla="*/ 140 h 176"/>
                <a:gd name="T58" fmla="*/ 62 w 206"/>
                <a:gd name="T59" fmla="*/ 160 h 176"/>
                <a:gd name="T60" fmla="*/ 56 w 206"/>
                <a:gd name="T61" fmla="*/ 176 h 176"/>
                <a:gd name="T62" fmla="*/ 52 w 206"/>
                <a:gd name="T63" fmla="*/ 176 h 176"/>
                <a:gd name="T64" fmla="*/ 48 w 206"/>
                <a:gd name="T65" fmla="*/ 176 h 176"/>
                <a:gd name="T66" fmla="*/ 34 w 206"/>
                <a:gd name="T67" fmla="*/ 176 h 176"/>
                <a:gd name="T68" fmla="*/ 22 w 206"/>
                <a:gd name="T69" fmla="*/ 168 h 176"/>
                <a:gd name="T70" fmla="*/ 8 w 206"/>
                <a:gd name="T71" fmla="*/ 160 h 176"/>
                <a:gd name="T72" fmla="*/ 0 w 206"/>
                <a:gd name="T73" fmla="*/ 140 h 176"/>
                <a:gd name="T74" fmla="*/ 0 w 206"/>
                <a:gd name="T75" fmla="*/ 124 h 176"/>
                <a:gd name="T76" fmla="*/ 14 w 206"/>
                <a:gd name="T77" fmla="*/ 124 h 176"/>
                <a:gd name="T78" fmla="*/ 22 w 206"/>
                <a:gd name="T79" fmla="*/ 106 h 176"/>
                <a:gd name="T80" fmla="*/ 28 w 206"/>
                <a:gd name="T81" fmla="*/ 90 h 176"/>
                <a:gd name="T82" fmla="*/ 28 w 206"/>
                <a:gd name="T83" fmla="*/ 72 h 176"/>
                <a:gd name="T84" fmla="*/ 14 w 206"/>
                <a:gd name="T85" fmla="*/ 64 h 176"/>
                <a:gd name="T86" fmla="*/ 0 w 206"/>
                <a:gd name="T87" fmla="*/ 32 h 176"/>
                <a:gd name="T88" fmla="*/ 2 w 206"/>
                <a:gd name="T89" fmla="*/ 2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" h="176">
                  <a:moveTo>
                    <a:pt x="2" y="28"/>
                  </a:moveTo>
                  <a:lnTo>
                    <a:pt x="16" y="8"/>
                  </a:lnTo>
                  <a:lnTo>
                    <a:pt x="28" y="8"/>
                  </a:lnTo>
                  <a:lnTo>
                    <a:pt x="42" y="8"/>
                  </a:lnTo>
                  <a:lnTo>
                    <a:pt x="56" y="28"/>
                  </a:lnTo>
                  <a:lnTo>
                    <a:pt x="70" y="36"/>
                  </a:lnTo>
                  <a:lnTo>
                    <a:pt x="84" y="36"/>
                  </a:lnTo>
                  <a:lnTo>
                    <a:pt x="98" y="36"/>
                  </a:lnTo>
                  <a:lnTo>
                    <a:pt x="112" y="36"/>
                  </a:lnTo>
                  <a:lnTo>
                    <a:pt x="124" y="28"/>
                  </a:lnTo>
                  <a:lnTo>
                    <a:pt x="138" y="18"/>
                  </a:lnTo>
                  <a:lnTo>
                    <a:pt x="150" y="0"/>
                  </a:lnTo>
                  <a:lnTo>
                    <a:pt x="164" y="0"/>
                  </a:lnTo>
                  <a:lnTo>
                    <a:pt x="178" y="0"/>
                  </a:lnTo>
                  <a:lnTo>
                    <a:pt x="192" y="0"/>
                  </a:lnTo>
                  <a:lnTo>
                    <a:pt x="206" y="8"/>
                  </a:lnTo>
                  <a:lnTo>
                    <a:pt x="204" y="12"/>
                  </a:lnTo>
                  <a:lnTo>
                    <a:pt x="200" y="18"/>
                  </a:lnTo>
                  <a:lnTo>
                    <a:pt x="186" y="38"/>
                  </a:lnTo>
                  <a:lnTo>
                    <a:pt x="172" y="54"/>
                  </a:lnTo>
                  <a:lnTo>
                    <a:pt x="158" y="64"/>
                  </a:lnTo>
                  <a:lnTo>
                    <a:pt x="144" y="82"/>
                  </a:lnTo>
                  <a:lnTo>
                    <a:pt x="130" y="90"/>
                  </a:lnTo>
                  <a:lnTo>
                    <a:pt x="124" y="106"/>
                  </a:lnTo>
                  <a:lnTo>
                    <a:pt x="110" y="116"/>
                  </a:lnTo>
                  <a:lnTo>
                    <a:pt x="112" y="118"/>
                  </a:lnTo>
                  <a:lnTo>
                    <a:pt x="104" y="124"/>
                  </a:lnTo>
                  <a:lnTo>
                    <a:pt x="90" y="128"/>
                  </a:lnTo>
                  <a:lnTo>
                    <a:pt x="78" y="140"/>
                  </a:lnTo>
                  <a:lnTo>
                    <a:pt x="62" y="160"/>
                  </a:lnTo>
                  <a:lnTo>
                    <a:pt x="56" y="176"/>
                  </a:lnTo>
                  <a:lnTo>
                    <a:pt x="52" y="176"/>
                  </a:lnTo>
                  <a:lnTo>
                    <a:pt x="48" y="176"/>
                  </a:lnTo>
                  <a:lnTo>
                    <a:pt x="34" y="176"/>
                  </a:lnTo>
                  <a:lnTo>
                    <a:pt x="22" y="168"/>
                  </a:lnTo>
                  <a:lnTo>
                    <a:pt x="8" y="160"/>
                  </a:lnTo>
                  <a:lnTo>
                    <a:pt x="0" y="140"/>
                  </a:lnTo>
                  <a:lnTo>
                    <a:pt x="0" y="124"/>
                  </a:lnTo>
                  <a:lnTo>
                    <a:pt x="14" y="124"/>
                  </a:lnTo>
                  <a:lnTo>
                    <a:pt x="22" y="106"/>
                  </a:lnTo>
                  <a:lnTo>
                    <a:pt x="28" y="90"/>
                  </a:lnTo>
                  <a:lnTo>
                    <a:pt x="28" y="72"/>
                  </a:lnTo>
                  <a:lnTo>
                    <a:pt x="14" y="64"/>
                  </a:lnTo>
                  <a:lnTo>
                    <a:pt x="0" y="32"/>
                  </a:lnTo>
                  <a:lnTo>
                    <a:pt x="2" y="28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4"/>
            <p:cNvSpPr>
              <a:spLocks/>
            </p:cNvSpPr>
            <p:nvPr/>
          </p:nvSpPr>
          <p:spPr bwMode="auto">
            <a:xfrm>
              <a:off x="3189030" y="3092938"/>
              <a:ext cx="887923" cy="974623"/>
            </a:xfrm>
            <a:custGeom>
              <a:avLst/>
              <a:gdLst>
                <a:gd name="T0" fmla="*/ 356 w 594"/>
                <a:gd name="T1" fmla="*/ 576 h 652"/>
                <a:gd name="T2" fmla="*/ 376 w 594"/>
                <a:gd name="T3" fmla="*/ 540 h 652"/>
                <a:gd name="T4" fmla="*/ 398 w 594"/>
                <a:gd name="T5" fmla="*/ 488 h 652"/>
                <a:gd name="T6" fmla="*/ 356 w 594"/>
                <a:gd name="T7" fmla="*/ 468 h 652"/>
                <a:gd name="T8" fmla="*/ 304 w 594"/>
                <a:gd name="T9" fmla="*/ 462 h 652"/>
                <a:gd name="T10" fmla="*/ 264 w 594"/>
                <a:gd name="T11" fmla="*/ 426 h 652"/>
                <a:gd name="T12" fmla="*/ 216 w 594"/>
                <a:gd name="T13" fmla="*/ 392 h 652"/>
                <a:gd name="T14" fmla="*/ 174 w 594"/>
                <a:gd name="T15" fmla="*/ 402 h 652"/>
                <a:gd name="T16" fmla="*/ 136 w 594"/>
                <a:gd name="T17" fmla="*/ 366 h 652"/>
                <a:gd name="T18" fmla="*/ 88 w 594"/>
                <a:gd name="T19" fmla="*/ 384 h 652"/>
                <a:gd name="T20" fmla="*/ 40 w 594"/>
                <a:gd name="T21" fmla="*/ 426 h 652"/>
                <a:gd name="T22" fmla="*/ 14 w 594"/>
                <a:gd name="T23" fmla="*/ 418 h 652"/>
                <a:gd name="T24" fmla="*/ 28 w 594"/>
                <a:gd name="T25" fmla="*/ 402 h 652"/>
                <a:gd name="T26" fmla="*/ 22 w 594"/>
                <a:gd name="T27" fmla="*/ 356 h 652"/>
                <a:gd name="T28" fmla="*/ 6 w 594"/>
                <a:gd name="T29" fmla="*/ 314 h 652"/>
                <a:gd name="T30" fmla="*/ 22 w 594"/>
                <a:gd name="T31" fmla="*/ 270 h 652"/>
                <a:gd name="T32" fmla="*/ 14 w 594"/>
                <a:gd name="T33" fmla="*/ 226 h 652"/>
                <a:gd name="T34" fmla="*/ 28 w 594"/>
                <a:gd name="T35" fmla="*/ 184 h 652"/>
                <a:gd name="T36" fmla="*/ 0 w 594"/>
                <a:gd name="T37" fmla="*/ 166 h 652"/>
                <a:gd name="T38" fmla="*/ 28 w 594"/>
                <a:gd name="T39" fmla="*/ 122 h 652"/>
                <a:gd name="T40" fmla="*/ 56 w 594"/>
                <a:gd name="T41" fmla="*/ 114 h 652"/>
                <a:gd name="T42" fmla="*/ 94 w 594"/>
                <a:gd name="T43" fmla="*/ 140 h 652"/>
                <a:gd name="T44" fmla="*/ 136 w 594"/>
                <a:gd name="T45" fmla="*/ 114 h 652"/>
                <a:gd name="T46" fmla="*/ 174 w 594"/>
                <a:gd name="T47" fmla="*/ 98 h 652"/>
                <a:gd name="T48" fmla="*/ 174 w 594"/>
                <a:gd name="T49" fmla="*/ 44 h 652"/>
                <a:gd name="T50" fmla="*/ 216 w 594"/>
                <a:gd name="T51" fmla="*/ 44 h 652"/>
                <a:gd name="T52" fmla="*/ 254 w 594"/>
                <a:gd name="T53" fmla="*/ 52 h 652"/>
                <a:gd name="T54" fmla="*/ 304 w 594"/>
                <a:gd name="T55" fmla="*/ 28 h 652"/>
                <a:gd name="T56" fmla="*/ 340 w 594"/>
                <a:gd name="T57" fmla="*/ 0 h 652"/>
                <a:gd name="T58" fmla="*/ 356 w 594"/>
                <a:gd name="T59" fmla="*/ 18 h 652"/>
                <a:gd name="T60" fmla="*/ 376 w 594"/>
                <a:gd name="T61" fmla="*/ 62 h 652"/>
                <a:gd name="T62" fmla="*/ 426 w 594"/>
                <a:gd name="T63" fmla="*/ 36 h 652"/>
                <a:gd name="T64" fmla="*/ 472 w 594"/>
                <a:gd name="T65" fmla="*/ 0 h 652"/>
                <a:gd name="T66" fmla="*/ 512 w 594"/>
                <a:gd name="T67" fmla="*/ 18 h 652"/>
                <a:gd name="T68" fmla="*/ 540 w 594"/>
                <a:gd name="T69" fmla="*/ 52 h 652"/>
                <a:gd name="T70" fmla="*/ 566 w 594"/>
                <a:gd name="T71" fmla="*/ 98 h 652"/>
                <a:gd name="T72" fmla="*/ 552 w 594"/>
                <a:gd name="T73" fmla="*/ 148 h 652"/>
                <a:gd name="T74" fmla="*/ 548 w 594"/>
                <a:gd name="T75" fmla="*/ 184 h 652"/>
                <a:gd name="T76" fmla="*/ 586 w 594"/>
                <a:gd name="T77" fmla="*/ 200 h 652"/>
                <a:gd name="T78" fmla="*/ 586 w 594"/>
                <a:gd name="T79" fmla="*/ 218 h 652"/>
                <a:gd name="T80" fmla="*/ 552 w 594"/>
                <a:gd name="T81" fmla="*/ 254 h 652"/>
                <a:gd name="T82" fmla="*/ 526 w 594"/>
                <a:gd name="T83" fmla="*/ 288 h 652"/>
                <a:gd name="T84" fmla="*/ 498 w 594"/>
                <a:gd name="T85" fmla="*/ 288 h 652"/>
                <a:gd name="T86" fmla="*/ 480 w 594"/>
                <a:gd name="T87" fmla="*/ 332 h 652"/>
                <a:gd name="T88" fmla="*/ 472 w 594"/>
                <a:gd name="T89" fmla="*/ 392 h 652"/>
                <a:gd name="T90" fmla="*/ 466 w 594"/>
                <a:gd name="T91" fmla="*/ 452 h 652"/>
                <a:gd name="T92" fmla="*/ 466 w 594"/>
                <a:gd name="T93" fmla="*/ 506 h 652"/>
                <a:gd name="T94" fmla="*/ 452 w 594"/>
                <a:gd name="T95" fmla="*/ 548 h 652"/>
                <a:gd name="T96" fmla="*/ 444 w 594"/>
                <a:gd name="T97" fmla="*/ 600 h 652"/>
                <a:gd name="T98" fmla="*/ 418 w 594"/>
                <a:gd name="T99" fmla="*/ 646 h 652"/>
                <a:gd name="T100" fmla="*/ 398 w 594"/>
                <a:gd name="T101" fmla="*/ 636 h 652"/>
                <a:gd name="T102" fmla="*/ 376 w 594"/>
                <a:gd name="T103" fmla="*/ 61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4" h="652">
                  <a:moveTo>
                    <a:pt x="376" y="610"/>
                  </a:moveTo>
                  <a:lnTo>
                    <a:pt x="370" y="592"/>
                  </a:lnTo>
                  <a:lnTo>
                    <a:pt x="356" y="576"/>
                  </a:lnTo>
                  <a:lnTo>
                    <a:pt x="356" y="558"/>
                  </a:lnTo>
                  <a:lnTo>
                    <a:pt x="364" y="540"/>
                  </a:lnTo>
                  <a:lnTo>
                    <a:pt x="376" y="540"/>
                  </a:lnTo>
                  <a:lnTo>
                    <a:pt x="392" y="522"/>
                  </a:lnTo>
                  <a:lnTo>
                    <a:pt x="404" y="506"/>
                  </a:lnTo>
                  <a:lnTo>
                    <a:pt x="398" y="488"/>
                  </a:lnTo>
                  <a:lnTo>
                    <a:pt x="384" y="478"/>
                  </a:lnTo>
                  <a:lnTo>
                    <a:pt x="364" y="488"/>
                  </a:lnTo>
                  <a:lnTo>
                    <a:pt x="356" y="468"/>
                  </a:lnTo>
                  <a:lnTo>
                    <a:pt x="336" y="478"/>
                  </a:lnTo>
                  <a:lnTo>
                    <a:pt x="322" y="468"/>
                  </a:lnTo>
                  <a:lnTo>
                    <a:pt x="304" y="462"/>
                  </a:lnTo>
                  <a:lnTo>
                    <a:pt x="298" y="444"/>
                  </a:lnTo>
                  <a:lnTo>
                    <a:pt x="278" y="436"/>
                  </a:lnTo>
                  <a:lnTo>
                    <a:pt x="264" y="426"/>
                  </a:lnTo>
                  <a:lnTo>
                    <a:pt x="250" y="426"/>
                  </a:lnTo>
                  <a:lnTo>
                    <a:pt x="228" y="408"/>
                  </a:lnTo>
                  <a:lnTo>
                    <a:pt x="216" y="392"/>
                  </a:lnTo>
                  <a:lnTo>
                    <a:pt x="202" y="392"/>
                  </a:lnTo>
                  <a:lnTo>
                    <a:pt x="190" y="402"/>
                  </a:lnTo>
                  <a:lnTo>
                    <a:pt x="174" y="402"/>
                  </a:lnTo>
                  <a:lnTo>
                    <a:pt x="150" y="392"/>
                  </a:lnTo>
                  <a:lnTo>
                    <a:pt x="150" y="374"/>
                  </a:lnTo>
                  <a:lnTo>
                    <a:pt x="136" y="366"/>
                  </a:lnTo>
                  <a:lnTo>
                    <a:pt x="114" y="366"/>
                  </a:lnTo>
                  <a:lnTo>
                    <a:pt x="100" y="374"/>
                  </a:lnTo>
                  <a:lnTo>
                    <a:pt x="88" y="384"/>
                  </a:lnTo>
                  <a:lnTo>
                    <a:pt x="74" y="402"/>
                  </a:lnTo>
                  <a:lnTo>
                    <a:pt x="60" y="408"/>
                  </a:lnTo>
                  <a:lnTo>
                    <a:pt x="40" y="426"/>
                  </a:lnTo>
                  <a:lnTo>
                    <a:pt x="34" y="426"/>
                  </a:lnTo>
                  <a:lnTo>
                    <a:pt x="20" y="436"/>
                  </a:lnTo>
                  <a:lnTo>
                    <a:pt x="14" y="418"/>
                  </a:lnTo>
                  <a:lnTo>
                    <a:pt x="14" y="408"/>
                  </a:lnTo>
                  <a:lnTo>
                    <a:pt x="14" y="408"/>
                  </a:lnTo>
                  <a:lnTo>
                    <a:pt x="28" y="402"/>
                  </a:lnTo>
                  <a:lnTo>
                    <a:pt x="34" y="384"/>
                  </a:lnTo>
                  <a:lnTo>
                    <a:pt x="34" y="366"/>
                  </a:lnTo>
                  <a:lnTo>
                    <a:pt x="22" y="356"/>
                  </a:lnTo>
                  <a:lnTo>
                    <a:pt x="6" y="348"/>
                  </a:lnTo>
                  <a:lnTo>
                    <a:pt x="6" y="332"/>
                  </a:lnTo>
                  <a:lnTo>
                    <a:pt x="6" y="314"/>
                  </a:lnTo>
                  <a:lnTo>
                    <a:pt x="22" y="304"/>
                  </a:lnTo>
                  <a:lnTo>
                    <a:pt x="22" y="288"/>
                  </a:lnTo>
                  <a:lnTo>
                    <a:pt x="22" y="270"/>
                  </a:lnTo>
                  <a:lnTo>
                    <a:pt x="14" y="252"/>
                  </a:lnTo>
                  <a:lnTo>
                    <a:pt x="0" y="244"/>
                  </a:lnTo>
                  <a:lnTo>
                    <a:pt x="14" y="226"/>
                  </a:lnTo>
                  <a:lnTo>
                    <a:pt x="6" y="210"/>
                  </a:lnTo>
                  <a:lnTo>
                    <a:pt x="22" y="200"/>
                  </a:lnTo>
                  <a:lnTo>
                    <a:pt x="28" y="184"/>
                  </a:lnTo>
                  <a:lnTo>
                    <a:pt x="14" y="184"/>
                  </a:lnTo>
                  <a:lnTo>
                    <a:pt x="0" y="184"/>
                  </a:lnTo>
                  <a:lnTo>
                    <a:pt x="0" y="166"/>
                  </a:lnTo>
                  <a:lnTo>
                    <a:pt x="6" y="148"/>
                  </a:lnTo>
                  <a:lnTo>
                    <a:pt x="14" y="132"/>
                  </a:lnTo>
                  <a:lnTo>
                    <a:pt x="28" y="122"/>
                  </a:lnTo>
                  <a:lnTo>
                    <a:pt x="34" y="106"/>
                  </a:lnTo>
                  <a:lnTo>
                    <a:pt x="40" y="106"/>
                  </a:lnTo>
                  <a:lnTo>
                    <a:pt x="56" y="114"/>
                  </a:lnTo>
                  <a:lnTo>
                    <a:pt x="66" y="124"/>
                  </a:lnTo>
                  <a:lnTo>
                    <a:pt x="80" y="132"/>
                  </a:lnTo>
                  <a:lnTo>
                    <a:pt x="94" y="140"/>
                  </a:lnTo>
                  <a:lnTo>
                    <a:pt x="108" y="140"/>
                  </a:lnTo>
                  <a:lnTo>
                    <a:pt x="122" y="132"/>
                  </a:lnTo>
                  <a:lnTo>
                    <a:pt x="136" y="114"/>
                  </a:lnTo>
                  <a:lnTo>
                    <a:pt x="150" y="114"/>
                  </a:lnTo>
                  <a:lnTo>
                    <a:pt x="168" y="114"/>
                  </a:lnTo>
                  <a:lnTo>
                    <a:pt x="174" y="98"/>
                  </a:lnTo>
                  <a:lnTo>
                    <a:pt x="174" y="78"/>
                  </a:lnTo>
                  <a:lnTo>
                    <a:pt x="168" y="62"/>
                  </a:lnTo>
                  <a:lnTo>
                    <a:pt x="174" y="44"/>
                  </a:lnTo>
                  <a:lnTo>
                    <a:pt x="190" y="44"/>
                  </a:lnTo>
                  <a:lnTo>
                    <a:pt x="202" y="44"/>
                  </a:lnTo>
                  <a:lnTo>
                    <a:pt x="216" y="44"/>
                  </a:lnTo>
                  <a:lnTo>
                    <a:pt x="228" y="44"/>
                  </a:lnTo>
                  <a:lnTo>
                    <a:pt x="242" y="52"/>
                  </a:lnTo>
                  <a:lnTo>
                    <a:pt x="254" y="52"/>
                  </a:lnTo>
                  <a:lnTo>
                    <a:pt x="270" y="44"/>
                  </a:lnTo>
                  <a:lnTo>
                    <a:pt x="282" y="28"/>
                  </a:lnTo>
                  <a:lnTo>
                    <a:pt x="304" y="28"/>
                  </a:lnTo>
                  <a:lnTo>
                    <a:pt x="318" y="18"/>
                  </a:lnTo>
                  <a:lnTo>
                    <a:pt x="328" y="10"/>
                  </a:lnTo>
                  <a:lnTo>
                    <a:pt x="340" y="0"/>
                  </a:lnTo>
                  <a:lnTo>
                    <a:pt x="338" y="0"/>
                  </a:lnTo>
                  <a:lnTo>
                    <a:pt x="350" y="0"/>
                  </a:lnTo>
                  <a:lnTo>
                    <a:pt x="356" y="18"/>
                  </a:lnTo>
                  <a:lnTo>
                    <a:pt x="370" y="28"/>
                  </a:lnTo>
                  <a:lnTo>
                    <a:pt x="370" y="44"/>
                  </a:lnTo>
                  <a:lnTo>
                    <a:pt x="376" y="62"/>
                  </a:lnTo>
                  <a:lnTo>
                    <a:pt x="398" y="62"/>
                  </a:lnTo>
                  <a:lnTo>
                    <a:pt x="412" y="44"/>
                  </a:lnTo>
                  <a:lnTo>
                    <a:pt x="426" y="36"/>
                  </a:lnTo>
                  <a:lnTo>
                    <a:pt x="436" y="18"/>
                  </a:lnTo>
                  <a:lnTo>
                    <a:pt x="452" y="10"/>
                  </a:lnTo>
                  <a:lnTo>
                    <a:pt x="472" y="0"/>
                  </a:lnTo>
                  <a:lnTo>
                    <a:pt x="486" y="10"/>
                  </a:lnTo>
                  <a:lnTo>
                    <a:pt x="498" y="18"/>
                  </a:lnTo>
                  <a:lnTo>
                    <a:pt x="512" y="18"/>
                  </a:lnTo>
                  <a:lnTo>
                    <a:pt x="526" y="28"/>
                  </a:lnTo>
                  <a:lnTo>
                    <a:pt x="534" y="44"/>
                  </a:lnTo>
                  <a:lnTo>
                    <a:pt x="540" y="52"/>
                  </a:lnTo>
                  <a:lnTo>
                    <a:pt x="538" y="54"/>
                  </a:lnTo>
                  <a:lnTo>
                    <a:pt x="552" y="90"/>
                  </a:lnTo>
                  <a:lnTo>
                    <a:pt x="566" y="98"/>
                  </a:lnTo>
                  <a:lnTo>
                    <a:pt x="566" y="114"/>
                  </a:lnTo>
                  <a:lnTo>
                    <a:pt x="562" y="132"/>
                  </a:lnTo>
                  <a:lnTo>
                    <a:pt x="552" y="148"/>
                  </a:lnTo>
                  <a:lnTo>
                    <a:pt x="538" y="148"/>
                  </a:lnTo>
                  <a:lnTo>
                    <a:pt x="538" y="166"/>
                  </a:lnTo>
                  <a:lnTo>
                    <a:pt x="548" y="184"/>
                  </a:lnTo>
                  <a:lnTo>
                    <a:pt x="562" y="192"/>
                  </a:lnTo>
                  <a:lnTo>
                    <a:pt x="572" y="200"/>
                  </a:lnTo>
                  <a:lnTo>
                    <a:pt x="586" y="200"/>
                  </a:lnTo>
                  <a:lnTo>
                    <a:pt x="592" y="200"/>
                  </a:lnTo>
                  <a:lnTo>
                    <a:pt x="594" y="200"/>
                  </a:lnTo>
                  <a:lnTo>
                    <a:pt x="586" y="218"/>
                  </a:lnTo>
                  <a:lnTo>
                    <a:pt x="572" y="226"/>
                  </a:lnTo>
                  <a:lnTo>
                    <a:pt x="562" y="236"/>
                  </a:lnTo>
                  <a:lnTo>
                    <a:pt x="552" y="254"/>
                  </a:lnTo>
                  <a:lnTo>
                    <a:pt x="548" y="270"/>
                  </a:lnTo>
                  <a:lnTo>
                    <a:pt x="538" y="288"/>
                  </a:lnTo>
                  <a:lnTo>
                    <a:pt x="526" y="288"/>
                  </a:lnTo>
                  <a:lnTo>
                    <a:pt x="520" y="270"/>
                  </a:lnTo>
                  <a:lnTo>
                    <a:pt x="506" y="270"/>
                  </a:lnTo>
                  <a:lnTo>
                    <a:pt x="498" y="288"/>
                  </a:lnTo>
                  <a:lnTo>
                    <a:pt x="498" y="298"/>
                  </a:lnTo>
                  <a:lnTo>
                    <a:pt x="492" y="314"/>
                  </a:lnTo>
                  <a:lnTo>
                    <a:pt x="480" y="332"/>
                  </a:lnTo>
                  <a:lnTo>
                    <a:pt x="480" y="348"/>
                  </a:lnTo>
                  <a:lnTo>
                    <a:pt x="480" y="366"/>
                  </a:lnTo>
                  <a:lnTo>
                    <a:pt x="472" y="392"/>
                  </a:lnTo>
                  <a:lnTo>
                    <a:pt x="472" y="408"/>
                  </a:lnTo>
                  <a:lnTo>
                    <a:pt x="466" y="436"/>
                  </a:lnTo>
                  <a:lnTo>
                    <a:pt x="466" y="452"/>
                  </a:lnTo>
                  <a:lnTo>
                    <a:pt x="472" y="468"/>
                  </a:lnTo>
                  <a:lnTo>
                    <a:pt x="472" y="488"/>
                  </a:lnTo>
                  <a:lnTo>
                    <a:pt x="466" y="506"/>
                  </a:lnTo>
                  <a:lnTo>
                    <a:pt x="466" y="522"/>
                  </a:lnTo>
                  <a:lnTo>
                    <a:pt x="458" y="530"/>
                  </a:lnTo>
                  <a:lnTo>
                    <a:pt x="452" y="548"/>
                  </a:lnTo>
                  <a:lnTo>
                    <a:pt x="452" y="568"/>
                  </a:lnTo>
                  <a:lnTo>
                    <a:pt x="452" y="584"/>
                  </a:lnTo>
                  <a:lnTo>
                    <a:pt x="444" y="600"/>
                  </a:lnTo>
                  <a:lnTo>
                    <a:pt x="436" y="618"/>
                  </a:lnTo>
                  <a:lnTo>
                    <a:pt x="432" y="636"/>
                  </a:lnTo>
                  <a:lnTo>
                    <a:pt x="418" y="646"/>
                  </a:lnTo>
                  <a:lnTo>
                    <a:pt x="418" y="652"/>
                  </a:lnTo>
                  <a:lnTo>
                    <a:pt x="412" y="652"/>
                  </a:lnTo>
                  <a:lnTo>
                    <a:pt x="398" y="636"/>
                  </a:lnTo>
                  <a:lnTo>
                    <a:pt x="388" y="620"/>
                  </a:lnTo>
                  <a:lnTo>
                    <a:pt x="384" y="618"/>
                  </a:lnTo>
                  <a:lnTo>
                    <a:pt x="376" y="61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65"/>
            <p:cNvSpPr>
              <a:spLocks/>
            </p:cNvSpPr>
            <p:nvPr/>
          </p:nvSpPr>
          <p:spPr bwMode="auto">
            <a:xfrm>
              <a:off x="3189030" y="3092938"/>
              <a:ext cx="887923" cy="974623"/>
            </a:xfrm>
            <a:custGeom>
              <a:avLst/>
              <a:gdLst>
                <a:gd name="T0" fmla="*/ 356 w 594"/>
                <a:gd name="T1" fmla="*/ 576 h 652"/>
                <a:gd name="T2" fmla="*/ 376 w 594"/>
                <a:gd name="T3" fmla="*/ 540 h 652"/>
                <a:gd name="T4" fmla="*/ 398 w 594"/>
                <a:gd name="T5" fmla="*/ 488 h 652"/>
                <a:gd name="T6" fmla="*/ 356 w 594"/>
                <a:gd name="T7" fmla="*/ 468 h 652"/>
                <a:gd name="T8" fmla="*/ 304 w 594"/>
                <a:gd name="T9" fmla="*/ 462 h 652"/>
                <a:gd name="T10" fmla="*/ 264 w 594"/>
                <a:gd name="T11" fmla="*/ 426 h 652"/>
                <a:gd name="T12" fmla="*/ 216 w 594"/>
                <a:gd name="T13" fmla="*/ 392 h 652"/>
                <a:gd name="T14" fmla="*/ 174 w 594"/>
                <a:gd name="T15" fmla="*/ 402 h 652"/>
                <a:gd name="T16" fmla="*/ 136 w 594"/>
                <a:gd name="T17" fmla="*/ 366 h 652"/>
                <a:gd name="T18" fmla="*/ 88 w 594"/>
                <a:gd name="T19" fmla="*/ 384 h 652"/>
                <a:gd name="T20" fmla="*/ 40 w 594"/>
                <a:gd name="T21" fmla="*/ 426 h 652"/>
                <a:gd name="T22" fmla="*/ 14 w 594"/>
                <a:gd name="T23" fmla="*/ 418 h 652"/>
                <a:gd name="T24" fmla="*/ 28 w 594"/>
                <a:gd name="T25" fmla="*/ 402 h 652"/>
                <a:gd name="T26" fmla="*/ 22 w 594"/>
                <a:gd name="T27" fmla="*/ 356 h 652"/>
                <a:gd name="T28" fmla="*/ 6 w 594"/>
                <a:gd name="T29" fmla="*/ 314 h 652"/>
                <a:gd name="T30" fmla="*/ 22 w 594"/>
                <a:gd name="T31" fmla="*/ 270 h 652"/>
                <a:gd name="T32" fmla="*/ 14 w 594"/>
                <a:gd name="T33" fmla="*/ 226 h 652"/>
                <a:gd name="T34" fmla="*/ 28 w 594"/>
                <a:gd name="T35" fmla="*/ 184 h 652"/>
                <a:gd name="T36" fmla="*/ 0 w 594"/>
                <a:gd name="T37" fmla="*/ 166 h 652"/>
                <a:gd name="T38" fmla="*/ 28 w 594"/>
                <a:gd name="T39" fmla="*/ 122 h 652"/>
                <a:gd name="T40" fmla="*/ 56 w 594"/>
                <a:gd name="T41" fmla="*/ 114 h 652"/>
                <a:gd name="T42" fmla="*/ 94 w 594"/>
                <a:gd name="T43" fmla="*/ 140 h 652"/>
                <a:gd name="T44" fmla="*/ 136 w 594"/>
                <a:gd name="T45" fmla="*/ 114 h 652"/>
                <a:gd name="T46" fmla="*/ 174 w 594"/>
                <a:gd name="T47" fmla="*/ 98 h 652"/>
                <a:gd name="T48" fmla="*/ 174 w 594"/>
                <a:gd name="T49" fmla="*/ 44 h 652"/>
                <a:gd name="T50" fmla="*/ 216 w 594"/>
                <a:gd name="T51" fmla="*/ 44 h 652"/>
                <a:gd name="T52" fmla="*/ 254 w 594"/>
                <a:gd name="T53" fmla="*/ 52 h 652"/>
                <a:gd name="T54" fmla="*/ 304 w 594"/>
                <a:gd name="T55" fmla="*/ 28 h 652"/>
                <a:gd name="T56" fmla="*/ 340 w 594"/>
                <a:gd name="T57" fmla="*/ 0 h 652"/>
                <a:gd name="T58" fmla="*/ 356 w 594"/>
                <a:gd name="T59" fmla="*/ 18 h 652"/>
                <a:gd name="T60" fmla="*/ 376 w 594"/>
                <a:gd name="T61" fmla="*/ 62 h 652"/>
                <a:gd name="T62" fmla="*/ 426 w 594"/>
                <a:gd name="T63" fmla="*/ 36 h 652"/>
                <a:gd name="T64" fmla="*/ 472 w 594"/>
                <a:gd name="T65" fmla="*/ 0 h 652"/>
                <a:gd name="T66" fmla="*/ 512 w 594"/>
                <a:gd name="T67" fmla="*/ 18 h 652"/>
                <a:gd name="T68" fmla="*/ 540 w 594"/>
                <a:gd name="T69" fmla="*/ 52 h 652"/>
                <a:gd name="T70" fmla="*/ 566 w 594"/>
                <a:gd name="T71" fmla="*/ 98 h 652"/>
                <a:gd name="T72" fmla="*/ 552 w 594"/>
                <a:gd name="T73" fmla="*/ 148 h 652"/>
                <a:gd name="T74" fmla="*/ 548 w 594"/>
                <a:gd name="T75" fmla="*/ 184 h 652"/>
                <a:gd name="T76" fmla="*/ 586 w 594"/>
                <a:gd name="T77" fmla="*/ 200 h 652"/>
                <a:gd name="T78" fmla="*/ 586 w 594"/>
                <a:gd name="T79" fmla="*/ 218 h 652"/>
                <a:gd name="T80" fmla="*/ 552 w 594"/>
                <a:gd name="T81" fmla="*/ 254 h 652"/>
                <a:gd name="T82" fmla="*/ 526 w 594"/>
                <a:gd name="T83" fmla="*/ 288 h 652"/>
                <a:gd name="T84" fmla="*/ 498 w 594"/>
                <a:gd name="T85" fmla="*/ 288 h 652"/>
                <a:gd name="T86" fmla="*/ 480 w 594"/>
                <a:gd name="T87" fmla="*/ 332 h 652"/>
                <a:gd name="T88" fmla="*/ 472 w 594"/>
                <a:gd name="T89" fmla="*/ 392 h 652"/>
                <a:gd name="T90" fmla="*/ 466 w 594"/>
                <a:gd name="T91" fmla="*/ 452 h 652"/>
                <a:gd name="T92" fmla="*/ 466 w 594"/>
                <a:gd name="T93" fmla="*/ 506 h 652"/>
                <a:gd name="T94" fmla="*/ 452 w 594"/>
                <a:gd name="T95" fmla="*/ 548 h 652"/>
                <a:gd name="T96" fmla="*/ 444 w 594"/>
                <a:gd name="T97" fmla="*/ 600 h 652"/>
                <a:gd name="T98" fmla="*/ 418 w 594"/>
                <a:gd name="T99" fmla="*/ 646 h 652"/>
                <a:gd name="T100" fmla="*/ 398 w 594"/>
                <a:gd name="T101" fmla="*/ 636 h 652"/>
                <a:gd name="T102" fmla="*/ 376 w 594"/>
                <a:gd name="T103" fmla="*/ 61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4" h="652">
                  <a:moveTo>
                    <a:pt x="376" y="610"/>
                  </a:moveTo>
                  <a:lnTo>
                    <a:pt x="370" y="592"/>
                  </a:lnTo>
                  <a:lnTo>
                    <a:pt x="356" y="576"/>
                  </a:lnTo>
                  <a:lnTo>
                    <a:pt x="356" y="558"/>
                  </a:lnTo>
                  <a:lnTo>
                    <a:pt x="364" y="540"/>
                  </a:lnTo>
                  <a:lnTo>
                    <a:pt x="376" y="540"/>
                  </a:lnTo>
                  <a:lnTo>
                    <a:pt x="392" y="522"/>
                  </a:lnTo>
                  <a:lnTo>
                    <a:pt x="404" y="506"/>
                  </a:lnTo>
                  <a:lnTo>
                    <a:pt x="398" y="488"/>
                  </a:lnTo>
                  <a:lnTo>
                    <a:pt x="384" y="478"/>
                  </a:lnTo>
                  <a:lnTo>
                    <a:pt x="364" y="488"/>
                  </a:lnTo>
                  <a:lnTo>
                    <a:pt x="356" y="468"/>
                  </a:lnTo>
                  <a:lnTo>
                    <a:pt x="336" y="478"/>
                  </a:lnTo>
                  <a:lnTo>
                    <a:pt x="322" y="468"/>
                  </a:lnTo>
                  <a:lnTo>
                    <a:pt x="304" y="462"/>
                  </a:lnTo>
                  <a:lnTo>
                    <a:pt x="298" y="444"/>
                  </a:lnTo>
                  <a:lnTo>
                    <a:pt x="278" y="436"/>
                  </a:lnTo>
                  <a:lnTo>
                    <a:pt x="264" y="426"/>
                  </a:lnTo>
                  <a:lnTo>
                    <a:pt x="250" y="426"/>
                  </a:lnTo>
                  <a:lnTo>
                    <a:pt x="228" y="408"/>
                  </a:lnTo>
                  <a:lnTo>
                    <a:pt x="216" y="392"/>
                  </a:lnTo>
                  <a:lnTo>
                    <a:pt x="202" y="392"/>
                  </a:lnTo>
                  <a:lnTo>
                    <a:pt x="190" y="402"/>
                  </a:lnTo>
                  <a:lnTo>
                    <a:pt x="174" y="402"/>
                  </a:lnTo>
                  <a:lnTo>
                    <a:pt x="150" y="392"/>
                  </a:lnTo>
                  <a:lnTo>
                    <a:pt x="150" y="374"/>
                  </a:lnTo>
                  <a:lnTo>
                    <a:pt x="136" y="366"/>
                  </a:lnTo>
                  <a:lnTo>
                    <a:pt x="114" y="366"/>
                  </a:lnTo>
                  <a:lnTo>
                    <a:pt x="100" y="374"/>
                  </a:lnTo>
                  <a:lnTo>
                    <a:pt x="88" y="384"/>
                  </a:lnTo>
                  <a:lnTo>
                    <a:pt x="74" y="402"/>
                  </a:lnTo>
                  <a:lnTo>
                    <a:pt x="60" y="408"/>
                  </a:lnTo>
                  <a:lnTo>
                    <a:pt x="40" y="426"/>
                  </a:lnTo>
                  <a:lnTo>
                    <a:pt x="34" y="426"/>
                  </a:lnTo>
                  <a:lnTo>
                    <a:pt x="20" y="436"/>
                  </a:lnTo>
                  <a:lnTo>
                    <a:pt x="14" y="418"/>
                  </a:lnTo>
                  <a:lnTo>
                    <a:pt x="14" y="408"/>
                  </a:lnTo>
                  <a:lnTo>
                    <a:pt x="14" y="408"/>
                  </a:lnTo>
                  <a:lnTo>
                    <a:pt x="28" y="402"/>
                  </a:lnTo>
                  <a:lnTo>
                    <a:pt x="34" y="384"/>
                  </a:lnTo>
                  <a:lnTo>
                    <a:pt x="34" y="366"/>
                  </a:lnTo>
                  <a:lnTo>
                    <a:pt x="22" y="356"/>
                  </a:lnTo>
                  <a:lnTo>
                    <a:pt x="6" y="348"/>
                  </a:lnTo>
                  <a:lnTo>
                    <a:pt x="6" y="332"/>
                  </a:lnTo>
                  <a:lnTo>
                    <a:pt x="6" y="314"/>
                  </a:lnTo>
                  <a:lnTo>
                    <a:pt x="22" y="304"/>
                  </a:lnTo>
                  <a:lnTo>
                    <a:pt x="22" y="288"/>
                  </a:lnTo>
                  <a:lnTo>
                    <a:pt x="22" y="270"/>
                  </a:lnTo>
                  <a:lnTo>
                    <a:pt x="14" y="252"/>
                  </a:lnTo>
                  <a:lnTo>
                    <a:pt x="0" y="244"/>
                  </a:lnTo>
                  <a:lnTo>
                    <a:pt x="14" y="226"/>
                  </a:lnTo>
                  <a:lnTo>
                    <a:pt x="6" y="210"/>
                  </a:lnTo>
                  <a:lnTo>
                    <a:pt x="22" y="200"/>
                  </a:lnTo>
                  <a:lnTo>
                    <a:pt x="28" y="184"/>
                  </a:lnTo>
                  <a:lnTo>
                    <a:pt x="14" y="184"/>
                  </a:lnTo>
                  <a:lnTo>
                    <a:pt x="0" y="184"/>
                  </a:lnTo>
                  <a:lnTo>
                    <a:pt x="0" y="166"/>
                  </a:lnTo>
                  <a:lnTo>
                    <a:pt x="6" y="148"/>
                  </a:lnTo>
                  <a:lnTo>
                    <a:pt x="14" y="132"/>
                  </a:lnTo>
                  <a:lnTo>
                    <a:pt x="28" y="122"/>
                  </a:lnTo>
                  <a:lnTo>
                    <a:pt x="34" y="106"/>
                  </a:lnTo>
                  <a:lnTo>
                    <a:pt x="40" y="106"/>
                  </a:lnTo>
                  <a:lnTo>
                    <a:pt x="56" y="114"/>
                  </a:lnTo>
                  <a:lnTo>
                    <a:pt x="66" y="124"/>
                  </a:lnTo>
                  <a:lnTo>
                    <a:pt x="80" y="132"/>
                  </a:lnTo>
                  <a:lnTo>
                    <a:pt x="94" y="140"/>
                  </a:lnTo>
                  <a:lnTo>
                    <a:pt x="108" y="140"/>
                  </a:lnTo>
                  <a:lnTo>
                    <a:pt x="122" y="132"/>
                  </a:lnTo>
                  <a:lnTo>
                    <a:pt x="136" y="114"/>
                  </a:lnTo>
                  <a:lnTo>
                    <a:pt x="150" y="114"/>
                  </a:lnTo>
                  <a:lnTo>
                    <a:pt x="168" y="114"/>
                  </a:lnTo>
                  <a:lnTo>
                    <a:pt x="174" y="98"/>
                  </a:lnTo>
                  <a:lnTo>
                    <a:pt x="174" y="78"/>
                  </a:lnTo>
                  <a:lnTo>
                    <a:pt x="168" y="62"/>
                  </a:lnTo>
                  <a:lnTo>
                    <a:pt x="174" y="44"/>
                  </a:lnTo>
                  <a:lnTo>
                    <a:pt x="190" y="44"/>
                  </a:lnTo>
                  <a:lnTo>
                    <a:pt x="202" y="44"/>
                  </a:lnTo>
                  <a:lnTo>
                    <a:pt x="216" y="44"/>
                  </a:lnTo>
                  <a:lnTo>
                    <a:pt x="228" y="44"/>
                  </a:lnTo>
                  <a:lnTo>
                    <a:pt x="242" y="52"/>
                  </a:lnTo>
                  <a:lnTo>
                    <a:pt x="254" y="52"/>
                  </a:lnTo>
                  <a:lnTo>
                    <a:pt x="270" y="44"/>
                  </a:lnTo>
                  <a:lnTo>
                    <a:pt x="282" y="28"/>
                  </a:lnTo>
                  <a:lnTo>
                    <a:pt x="304" y="28"/>
                  </a:lnTo>
                  <a:lnTo>
                    <a:pt x="318" y="18"/>
                  </a:lnTo>
                  <a:lnTo>
                    <a:pt x="328" y="10"/>
                  </a:lnTo>
                  <a:lnTo>
                    <a:pt x="340" y="0"/>
                  </a:lnTo>
                  <a:lnTo>
                    <a:pt x="338" y="0"/>
                  </a:lnTo>
                  <a:lnTo>
                    <a:pt x="350" y="0"/>
                  </a:lnTo>
                  <a:lnTo>
                    <a:pt x="356" y="18"/>
                  </a:lnTo>
                  <a:lnTo>
                    <a:pt x="370" y="28"/>
                  </a:lnTo>
                  <a:lnTo>
                    <a:pt x="370" y="44"/>
                  </a:lnTo>
                  <a:lnTo>
                    <a:pt x="376" y="62"/>
                  </a:lnTo>
                  <a:lnTo>
                    <a:pt x="398" y="62"/>
                  </a:lnTo>
                  <a:lnTo>
                    <a:pt x="412" y="44"/>
                  </a:lnTo>
                  <a:lnTo>
                    <a:pt x="426" y="36"/>
                  </a:lnTo>
                  <a:lnTo>
                    <a:pt x="436" y="18"/>
                  </a:lnTo>
                  <a:lnTo>
                    <a:pt x="452" y="10"/>
                  </a:lnTo>
                  <a:lnTo>
                    <a:pt x="472" y="0"/>
                  </a:lnTo>
                  <a:lnTo>
                    <a:pt x="486" y="10"/>
                  </a:lnTo>
                  <a:lnTo>
                    <a:pt x="498" y="18"/>
                  </a:lnTo>
                  <a:lnTo>
                    <a:pt x="512" y="18"/>
                  </a:lnTo>
                  <a:lnTo>
                    <a:pt x="526" y="28"/>
                  </a:lnTo>
                  <a:lnTo>
                    <a:pt x="534" y="44"/>
                  </a:lnTo>
                  <a:lnTo>
                    <a:pt x="540" y="52"/>
                  </a:lnTo>
                  <a:lnTo>
                    <a:pt x="538" y="54"/>
                  </a:lnTo>
                  <a:lnTo>
                    <a:pt x="552" y="90"/>
                  </a:lnTo>
                  <a:lnTo>
                    <a:pt x="566" y="98"/>
                  </a:lnTo>
                  <a:lnTo>
                    <a:pt x="566" y="114"/>
                  </a:lnTo>
                  <a:lnTo>
                    <a:pt x="562" y="132"/>
                  </a:lnTo>
                  <a:lnTo>
                    <a:pt x="552" y="148"/>
                  </a:lnTo>
                  <a:lnTo>
                    <a:pt x="538" y="148"/>
                  </a:lnTo>
                  <a:lnTo>
                    <a:pt x="538" y="166"/>
                  </a:lnTo>
                  <a:lnTo>
                    <a:pt x="548" y="184"/>
                  </a:lnTo>
                  <a:lnTo>
                    <a:pt x="562" y="192"/>
                  </a:lnTo>
                  <a:lnTo>
                    <a:pt x="572" y="200"/>
                  </a:lnTo>
                  <a:lnTo>
                    <a:pt x="586" y="200"/>
                  </a:lnTo>
                  <a:lnTo>
                    <a:pt x="592" y="200"/>
                  </a:lnTo>
                  <a:lnTo>
                    <a:pt x="594" y="200"/>
                  </a:lnTo>
                  <a:lnTo>
                    <a:pt x="586" y="218"/>
                  </a:lnTo>
                  <a:lnTo>
                    <a:pt x="572" y="226"/>
                  </a:lnTo>
                  <a:lnTo>
                    <a:pt x="562" y="236"/>
                  </a:lnTo>
                  <a:lnTo>
                    <a:pt x="552" y="254"/>
                  </a:lnTo>
                  <a:lnTo>
                    <a:pt x="548" y="270"/>
                  </a:lnTo>
                  <a:lnTo>
                    <a:pt x="538" y="288"/>
                  </a:lnTo>
                  <a:lnTo>
                    <a:pt x="526" y="288"/>
                  </a:lnTo>
                  <a:lnTo>
                    <a:pt x="520" y="270"/>
                  </a:lnTo>
                  <a:lnTo>
                    <a:pt x="506" y="270"/>
                  </a:lnTo>
                  <a:lnTo>
                    <a:pt x="498" y="288"/>
                  </a:lnTo>
                  <a:lnTo>
                    <a:pt x="498" y="298"/>
                  </a:lnTo>
                  <a:lnTo>
                    <a:pt x="492" y="314"/>
                  </a:lnTo>
                  <a:lnTo>
                    <a:pt x="480" y="332"/>
                  </a:lnTo>
                  <a:lnTo>
                    <a:pt x="480" y="348"/>
                  </a:lnTo>
                  <a:lnTo>
                    <a:pt x="480" y="366"/>
                  </a:lnTo>
                  <a:lnTo>
                    <a:pt x="472" y="392"/>
                  </a:lnTo>
                  <a:lnTo>
                    <a:pt x="472" y="408"/>
                  </a:lnTo>
                  <a:lnTo>
                    <a:pt x="466" y="436"/>
                  </a:lnTo>
                  <a:lnTo>
                    <a:pt x="466" y="452"/>
                  </a:lnTo>
                  <a:lnTo>
                    <a:pt x="472" y="468"/>
                  </a:lnTo>
                  <a:lnTo>
                    <a:pt x="472" y="488"/>
                  </a:lnTo>
                  <a:lnTo>
                    <a:pt x="466" y="506"/>
                  </a:lnTo>
                  <a:lnTo>
                    <a:pt x="466" y="522"/>
                  </a:lnTo>
                  <a:lnTo>
                    <a:pt x="458" y="530"/>
                  </a:lnTo>
                  <a:lnTo>
                    <a:pt x="452" y="548"/>
                  </a:lnTo>
                  <a:lnTo>
                    <a:pt x="452" y="568"/>
                  </a:lnTo>
                  <a:lnTo>
                    <a:pt x="452" y="584"/>
                  </a:lnTo>
                  <a:lnTo>
                    <a:pt x="444" y="600"/>
                  </a:lnTo>
                  <a:lnTo>
                    <a:pt x="436" y="618"/>
                  </a:lnTo>
                  <a:lnTo>
                    <a:pt x="432" y="636"/>
                  </a:lnTo>
                  <a:lnTo>
                    <a:pt x="418" y="646"/>
                  </a:lnTo>
                  <a:lnTo>
                    <a:pt x="418" y="652"/>
                  </a:lnTo>
                  <a:lnTo>
                    <a:pt x="412" y="652"/>
                  </a:lnTo>
                  <a:lnTo>
                    <a:pt x="398" y="636"/>
                  </a:lnTo>
                  <a:lnTo>
                    <a:pt x="388" y="620"/>
                  </a:lnTo>
                  <a:lnTo>
                    <a:pt x="384" y="618"/>
                  </a:lnTo>
                  <a:lnTo>
                    <a:pt x="376" y="610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66"/>
            <p:cNvSpPr>
              <a:spLocks/>
            </p:cNvSpPr>
            <p:nvPr/>
          </p:nvSpPr>
          <p:spPr bwMode="auto">
            <a:xfrm>
              <a:off x="3592632" y="4013747"/>
              <a:ext cx="215254" cy="322881"/>
            </a:xfrm>
            <a:custGeom>
              <a:avLst/>
              <a:gdLst>
                <a:gd name="T0" fmla="*/ 62 w 144"/>
                <a:gd name="T1" fmla="*/ 206 h 216"/>
                <a:gd name="T2" fmla="*/ 82 w 144"/>
                <a:gd name="T3" fmla="*/ 198 h 216"/>
                <a:gd name="T4" fmla="*/ 94 w 144"/>
                <a:gd name="T5" fmla="*/ 182 h 216"/>
                <a:gd name="T6" fmla="*/ 94 w 144"/>
                <a:gd name="T7" fmla="*/ 164 h 216"/>
                <a:gd name="T8" fmla="*/ 102 w 144"/>
                <a:gd name="T9" fmla="*/ 146 h 216"/>
                <a:gd name="T10" fmla="*/ 116 w 144"/>
                <a:gd name="T11" fmla="*/ 130 h 216"/>
                <a:gd name="T12" fmla="*/ 130 w 144"/>
                <a:gd name="T13" fmla="*/ 122 h 216"/>
                <a:gd name="T14" fmla="*/ 144 w 144"/>
                <a:gd name="T15" fmla="*/ 104 h 216"/>
                <a:gd name="T16" fmla="*/ 136 w 144"/>
                <a:gd name="T17" fmla="*/ 86 h 216"/>
                <a:gd name="T18" fmla="*/ 136 w 144"/>
                <a:gd name="T19" fmla="*/ 70 h 216"/>
                <a:gd name="T20" fmla="*/ 136 w 144"/>
                <a:gd name="T21" fmla="*/ 52 h 216"/>
                <a:gd name="T22" fmla="*/ 144 w 144"/>
                <a:gd name="T23" fmla="*/ 34 h 216"/>
                <a:gd name="T24" fmla="*/ 130 w 144"/>
                <a:gd name="T25" fmla="*/ 16 h 216"/>
                <a:gd name="T26" fmla="*/ 120 w 144"/>
                <a:gd name="T27" fmla="*/ 2 h 216"/>
                <a:gd name="T28" fmla="*/ 116 w 144"/>
                <a:gd name="T29" fmla="*/ 0 h 216"/>
                <a:gd name="T30" fmla="*/ 102 w 144"/>
                <a:gd name="T31" fmla="*/ 0 h 216"/>
                <a:gd name="T32" fmla="*/ 88 w 144"/>
                <a:gd name="T33" fmla="*/ 0 h 216"/>
                <a:gd name="T34" fmla="*/ 74 w 144"/>
                <a:gd name="T35" fmla="*/ 8 h 216"/>
                <a:gd name="T36" fmla="*/ 68 w 144"/>
                <a:gd name="T37" fmla="*/ 28 h 216"/>
                <a:gd name="T38" fmla="*/ 68 w 144"/>
                <a:gd name="T39" fmla="*/ 44 h 216"/>
                <a:gd name="T40" fmla="*/ 68 w 144"/>
                <a:gd name="T41" fmla="*/ 60 h 216"/>
                <a:gd name="T42" fmla="*/ 68 w 144"/>
                <a:gd name="T43" fmla="*/ 78 h 216"/>
                <a:gd name="T44" fmla="*/ 68 w 144"/>
                <a:gd name="T45" fmla="*/ 96 h 216"/>
                <a:gd name="T46" fmla="*/ 62 w 144"/>
                <a:gd name="T47" fmla="*/ 112 h 216"/>
                <a:gd name="T48" fmla="*/ 48 w 144"/>
                <a:gd name="T49" fmla="*/ 122 h 216"/>
                <a:gd name="T50" fmla="*/ 40 w 144"/>
                <a:gd name="T51" fmla="*/ 138 h 216"/>
                <a:gd name="T52" fmla="*/ 26 w 144"/>
                <a:gd name="T53" fmla="*/ 156 h 216"/>
                <a:gd name="T54" fmla="*/ 14 w 144"/>
                <a:gd name="T55" fmla="*/ 146 h 216"/>
                <a:gd name="T56" fmla="*/ 0 w 144"/>
                <a:gd name="T57" fmla="*/ 164 h 216"/>
                <a:gd name="T58" fmla="*/ 0 w 144"/>
                <a:gd name="T59" fmla="*/ 182 h 216"/>
                <a:gd name="T60" fmla="*/ 0 w 144"/>
                <a:gd name="T61" fmla="*/ 190 h 216"/>
                <a:gd name="T62" fmla="*/ 6 w 144"/>
                <a:gd name="T63" fmla="*/ 206 h 216"/>
                <a:gd name="T64" fmla="*/ 26 w 144"/>
                <a:gd name="T65" fmla="*/ 216 h 216"/>
                <a:gd name="T66" fmla="*/ 40 w 144"/>
                <a:gd name="T67" fmla="*/ 216 h 216"/>
                <a:gd name="T68" fmla="*/ 48 w 144"/>
                <a:gd name="T69" fmla="*/ 216 h 216"/>
                <a:gd name="T70" fmla="*/ 54 w 144"/>
                <a:gd name="T71" fmla="*/ 216 h 216"/>
                <a:gd name="T72" fmla="*/ 62 w 144"/>
                <a:gd name="T73" fmla="*/ 20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4" h="216">
                  <a:moveTo>
                    <a:pt x="62" y="206"/>
                  </a:moveTo>
                  <a:lnTo>
                    <a:pt x="82" y="198"/>
                  </a:lnTo>
                  <a:lnTo>
                    <a:pt x="94" y="182"/>
                  </a:lnTo>
                  <a:lnTo>
                    <a:pt x="94" y="164"/>
                  </a:lnTo>
                  <a:lnTo>
                    <a:pt x="102" y="146"/>
                  </a:lnTo>
                  <a:lnTo>
                    <a:pt x="116" y="130"/>
                  </a:lnTo>
                  <a:lnTo>
                    <a:pt x="130" y="122"/>
                  </a:lnTo>
                  <a:lnTo>
                    <a:pt x="144" y="104"/>
                  </a:lnTo>
                  <a:lnTo>
                    <a:pt x="136" y="86"/>
                  </a:lnTo>
                  <a:lnTo>
                    <a:pt x="136" y="70"/>
                  </a:lnTo>
                  <a:lnTo>
                    <a:pt x="136" y="52"/>
                  </a:lnTo>
                  <a:lnTo>
                    <a:pt x="144" y="34"/>
                  </a:lnTo>
                  <a:lnTo>
                    <a:pt x="130" y="16"/>
                  </a:lnTo>
                  <a:lnTo>
                    <a:pt x="120" y="2"/>
                  </a:lnTo>
                  <a:lnTo>
                    <a:pt x="116" y="0"/>
                  </a:lnTo>
                  <a:lnTo>
                    <a:pt x="102" y="0"/>
                  </a:lnTo>
                  <a:lnTo>
                    <a:pt x="88" y="0"/>
                  </a:lnTo>
                  <a:lnTo>
                    <a:pt x="74" y="8"/>
                  </a:lnTo>
                  <a:lnTo>
                    <a:pt x="68" y="28"/>
                  </a:lnTo>
                  <a:lnTo>
                    <a:pt x="68" y="44"/>
                  </a:lnTo>
                  <a:lnTo>
                    <a:pt x="68" y="60"/>
                  </a:lnTo>
                  <a:lnTo>
                    <a:pt x="68" y="78"/>
                  </a:lnTo>
                  <a:lnTo>
                    <a:pt x="68" y="96"/>
                  </a:lnTo>
                  <a:lnTo>
                    <a:pt x="62" y="112"/>
                  </a:lnTo>
                  <a:lnTo>
                    <a:pt x="48" y="122"/>
                  </a:lnTo>
                  <a:lnTo>
                    <a:pt x="40" y="138"/>
                  </a:lnTo>
                  <a:lnTo>
                    <a:pt x="26" y="156"/>
                  </a:lnTo>
                  <a:lnTo>
                    <a:pt x="14" y="146"/>
                  </a:lnTo>
                  <a:lnTo>
                    <a:pt x="0" y="164"/>
                  </a:lnTo>
                  <a:lnTo>
                    <a:pt x="0" y="182"/>
                  </a:lnTo>
                  <a:lnTo>
                    <a:pt x="0" y="190"/>
                  </a:lnTo>
                  <a:lnTo>
                    <a:pt x="6" y="206"/>
                  </a:lnTo>
                  <a:lnTo>
                    <a:pt x="26" y="216"/>
                  </a:lnTo>
                  <a:lnTo>
                    <a:pt x="40" y="216"/>
                  </a:lnTo>
                  <a:lnTo>
                    <a:pt x="48" y="216"/>
                  </a:lnTo>
                  <a:lnTo>
                    <a:pt x="54" y="216"/>
                  </a:lnTo>
                  <a:lnTo>
                    <a:pt x="62" y="206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67"/>
            <p:cNvSpPr>
              <a:spLocks/>
            </p:cNvSpPr>
            <p:nvPr/>
          </p:nvSpPr>
          <p:spPr bwMode="auto">
            <a:xfrm>
              <a:off x="3592632" y="4013747"/>
              <a:ext cx="215254" cy="322881"/>
            </a:xfrm>
            <a:custGeom>
              <a:avLst/>
              <a:gdLst>
                <a:gd name="T0" fmla="*/ 62 w 144"/>
                <a:gd name="T1" fmla="*/ 206 h 216"/>
                <a:gd name="T2" fmla="*/ 82 w 144"/>
                <a:gd name="T3" fmla="*/ 198 h 216"/>
                <a:gd name="T4" fmla="*/ 94 w 144"/>
                <a:gd name="T5" fmla="*/ 182 h 216"/>
                <a:gd name="T6" fmla="*/ 94 w 144"/>
                <a:gd name="T7" fmla="*/ 164 h 216"/>
                <a:gd name="T8" fmla="*/ 102 w 144"/>
                <a:gd name="T9" fmla="*/ 146 h 216"/>
                <a:gd name="T10" fmla="*/ 116 w 144"/>
                <a:gd name="T11" fmla="*/ 130 h 216"/>
                <a:gd name="T12" fmla="*/ 130 w 144"/>
                <a:gd name="T13" fmla="*/ 122 h 216"/>
                <a:gd name="T14" fmla="*/ 144 w 144"/>
                <a:gd name="T15" fmla="*/ 104 h 216"/>
                <a:gd name="T16" fmla="*/ 136 w 144"/>
                <a:gd name="T17" fmla="*/ 86 h 216"/>
                <a:gd name="T18" fmla="*/ 136 w 144"/>
                <a:gd name="T19" fmla="*/ 70 h 216"/>
                <a:gd name="T20" fmla="*/ 136 w 144"/>
                <a:gd name="T21" fmla="*/ 52 h 216"/>
                <a:gd name="T22" fmla="*/ 144 w 144"/>
                <a:gd name="T23" fmla="*/ 34 h 216"/>
                <a:gd name="T24" fmla="*/ 130 w 144"/>
                <a:gd name="T25" fmla="*/ 16 h 216"/>
                <a:gd name="T26" fmla="*/ 120 w 144"/>
                <a:gd name="T27" fmla="*/ 2 h 216"/>
                <a:gd name="T28" fmla="*/ 116 w 144"/>
                <a:gd name="T29" fmla="*/ 0 h 216"/>
                <a:gd name="T30" fmla="*/ 102 w 144"/>
                <a:gd name="T31" fmla="*/ 0 h 216"/>
                <a:gd name="T32" fmla="*/ 88 w 144"/>
                <a:gd name="T33" fmla="*/ 0 h 216"/>
                <a:gd name="T34" fmla="*/ 74 w 144"/>
                <a:gd name="T35" fmla="*/ 8 h 216"/>
                <a:gd name="T36" fmla="*/ 68 w 144"/>
                <a:gd name="T37" fmla="*/ 28 h 216"/>
                <a:gd name="T38" fmla="*/ 68 w 144"/>
                <a:gd name="T39" fmla="*/ 44 h 216"/>
                <a:gd name="T40" fmla="*/ 68 w 144"/>
                <a:gd name="T41" fmla="*/ 60 h 216"/>
                <a:gd name="T42" fmla="*/ 68 w 144"/>
                <a:gd name="T43" fmla="*/ 78 h 216"/>
                <a:gd name="T44" fmla="*/ 68 w 144"/>
                <a:gd name="T45" fmla="*/ 96 h 216"/>
                <a:gd name="T46" fmla="*/ 62 w 144"/>
                <a:gd name="T47" fmla="*/ 112 h 216"/>
                <a:gd name="T48" fmla="*/ 48 w 144"/>
                <a:gd name="T49" fmla="*/ 122 h 216"/>
                <a:gd name="T50" fmla="*/ 40 w 144"/>
                <a:gd name="T51" fmla="*/ 138 h 216"/>
                <a:gd name="T52" fmla="*/ 26 w 144"/>
                <a:gd name="T53" fmla="*/ 156 h 216"/>
                <a:gd name="T54" fmla="*/ 14 w 144"/>
                <a:gd name="T55" fmla="*/ 146 h 216"/>
                <a:gd name="T56" fmla="*/ 0 w 144"/>
                <a:gd name="T57" fmla="*/ 164 h 216"/>
                <a:gd name="T58" fmla="*/ 0 w 144"/>
                <a:gd name="T59" fmla="*/ 182 h 216"/>
                <a:gd name="T60" fmla="*/ 0 w 144"/>
                <a:gd name="T61" fmla="*/ 190 h 216"/>
                <a:gd name="T62" fmla="*/ 6 w 144"/>
                <a:gd name="T63" fmla="*/ 206 h 216"/>
                <a:gd name="T64" fmla="*/ 26 w 144"/>
                <a:gd name="T65" fmla="*/ 216 h 216"/>
                <a:gd name="T66" fmla="*/ 40 w 144"/>
                <a:gd name="T67" fmla="*/ 216 h 216"/>
                <a:gd name="T68" fmla="*/ 48 w 144"/>
                <a:gd name="T69" fmla="*/ 216 h 216"/>
                <a:gd name="T70" fmla="*/ 54 w 144"/>
                <a:gd name="T71" fmla="*/ 216 h 216"/>
                <a:gd name="T72" fmla="*/ 62 w 144"/>
                <a:gd name="T73" fmla="*/ 20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4" h="216">
                  <a:moveTo>
                    <a:pt x="62" y="206"/>
                  </a:moveTo>
                  <a:lnTo>
                    <a:pt x="82" y="198"/>
                  </a:lnTo>
                  <a:lnTo>
                    <a:pt x="94" y="182"/>
                  </a:lnTo>
                  <a:lnTo>
                    <a:pt x="94" y="164"/>
                  </a:lnTo>
                  <a:lnTo>
                    <a:pt x="102" y="146"/>
                  </a:lnTo>
                  <a:lnTo>
                    <a:pt x="116" y="130"/>
                  </a:lnTo>
                  <a:lnTo>
                    <a:pt x="130" y="122"/>
                  </a:lnTo>
                  <a:lnTo>
                    <a:pt x="144" y="104"/>
                  </a:lnTo>
                  <a:lnTo>
                    <a:pt x="136" y="86"/>
                  </a:lnTo>
                  <a:lnTo>
                    <a:pt x="136" y="70"/>
                  </a:lnTo>
                  <a:lnTo>
                    <a:pt x="136" y="52"/>
                  </a:lnTo>
                  <a:lnTo>
                    <a:pt x="144" y="34"/>
                  </a:lnTo>
                  <a:lnTo>
                    <a:pt x="130" y="16"/>
                  </a:lnTo>
                  <a:lnTo>
                    <a:pt x="120" y="2"/>
                  </a:lnTo>
                  <a:lnTo>
                    <a:pt x="116" y="0"/>
                  </a:lnTo>
                  <a:lnTo>
                    <a:pt x="102" y="0"/>
                  </a:lnTo>
                  <a:lnTo>
                    <a:pt x="88" y="0"/>
                  </a:lnTo>
                  <a:lnTo>
                    <a:pt x="74" y="8"/>
                  </a:lnTo>
                  <a:lnTo>
                    <a:pt x="68" y="28"/>
                  </a:lnTo>
                  <a:lnTo>
                    <a:pt x="68" y="44"/>
                  </a:lnTo>
                  <a:lnTo>
                    <a:pt x="68" y="60"/>
                  </a:lnTo>
                  <a:lnTo>
                    <a:pt x="68" y="78"/>
                  </a:lnTo>
                  <a:lnTo>
                    <a:pt x="68" y="96"/>
                  </a:lnTo>
                  <a:lnTo>
                    <a:pt x="62" y="112"/>
                  </a:lnTo>
                  <a:lnTo>
                    <a:pt x="48" y="122"/>
                  </a:lnTo>
                  <a:lnTo>
                    <a:pt x="40" y="138"/>
                  </a:lnTo>
                  <a:lnTo>
                    <a:pt x="26" y="156"/>
                  </a:lnTo>
                  <a:lnTo>
                    <a:pt x="14" y="146"/>
                  </a:lnTo>
                  <a:lnTo>
                    <a:pt x="0" y="164"/>
                  </a:lnTo>
                  <a:lnTo>
                    <a:pt x="0" y="182"/>
                  </a:lnTo>
                  <a:lnTo>
                    <a:pt x="0" y="190"/>
                  </a:lnTo>
                  <a:lnTo>
                    <a:pt x="6" y="206"/>
                  </a:lnTo>
                  <a:lnTo>
                    <a:pt x="26" y="216"/>
                  </a:lnTo>
                  <a:lnTo>
                    <a:pt x="40" y="216"/>
                  </a:lnTo>
                  <a:lnTo>
                    <a:pt x="48" y="216"/>
                  </a:lnTo>
                  <a:lnTo>
                    <a:pt x="54" y="216"/>
                  </a:lnTo>
                  <a:lnTo>
                    <a:pt x="62" y="206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68"/>
            <p:cNvSpPr>
              <a:spLocks/>
            </p:cNvSpPr>
            <p:nvPr/>
          </p:nvSpPr>
          <p:spPr bwMode="auto">
            <a:xfrm>
              <a:off x="3308616" y="4297762"/>
              <a:ext cx="364736" cy="209275"/>
            </a:xfrm>
            <a:custGeom>
              <a:avLst/>
              <a:gdLst>
                <a:gd name="T0" fmla="*/ 244 w 244"/>
                <a:gd name="T1" fmla="*/ 26 h 140"/>
                <a:gd name="T2" fmla="*/ 238 w 244"/>
                <a:gd name="T3" fmla="*/ 26 h 140"/>
                <a:gd name="T4" fmla="*/ 230 w 244"/>
                <a:gd name="T5" fmla="*/ 26 h 140"/>
                <a:gd name="T6" fmla="*/ 216 w 244"/>
                <a:gd name="T7" fmla="*/ 26 h 140"/>
                <a:gd name="T8" fmla="*/ 198 w 244"/>
                <a:gd name="T9" fmla="*/ 16 h 140"/>
                <a:gd name="T10" fmla="*/ 190 w 244"/>
                <a:gd name="T11" fmla="*/ 0 h 140"/>
                <a:gd name="T12" fmla="*/ 190 w 244"/>
                <a:gd name="T13" fmla="*/ 2 h 140"/>
                <a:gd name="T14" fmla="*/ 184 w 244"/>
                <a:gd name="T15" fmla="*/ 6 h 140"/>
                <a:gd name="T16" fmla="*/ 176 w 244"/>
                <a:gd name="T17" fmla="*/ 26 h 140"/>
                <a:gd name="T18" fmla="*/ 170 w 244"/>
                <a:gd name="T19" fmla="*/ 44 h 140"/>
                <a:gd name="T20" fmla="*/ 156 w 244"/>
                <a:gd name="T21" fmla="*/ 60 h 140"/>
                <a:gd name="T22" fmla="*/ 136 w 244"/>
                <a:gd name="T23" fmla="*/ 70 h 140"/>
                <a:gd name="T24" fmla="*/ 122 w 244"/>
                <a:gd name="T25" fmla="*/ 70 h 140"/>
                <a:gd name="T26" fmla="*/ 108 w 244"/>
                <a:gd name="T27" fmla="*/ 78 h 140"/>
                <a:gd name="T28" fmla="*/ 94 w 244"/>
                <a:gd name="T29" fmla="*/ 78 h 140"/>
                <a:gd name="T30" fmla="*/ 80 w 244"/>
                <a:gd name="T31" fmla="*/ 78 h 140"/>
                <a:gd name="T32" fmla="*/ 66 w 244"/>
                <a:gd name="T33" fmla="*/ 78 h 140"/>
                <a:gd name="T34" fmla="*/ 54 w 244"/>
                <a:gd name="T35" fmla="*/ 70 h 140"/>
                <a:gd name="T36" fmla="*/ 42 w 244"/>
                <a:gd name="T37" fmla="*/ 78 h 140"/>
                <a:gd name="T38" fmla="*/ 28 w 244"/>
                <a:gd name="T39" fmla="*/ 78 h 140"/>
                <a:gd name="T40" fmla="*/ 14 w 244"/>
                <a:gd name="T41" fmla="*/ 96 h 140"/>
                <a:gd name="T42" fmla="*/ 14 w 244"/>
                <a:gd name="T43" fmla="*/ 114 h 140"/>
                <a:gd name="T44" fmla="*/ 0 w 244"/>
                <a:gd name="T45" fmla="*/ 120 h 140"/>
                <a:gd name="T46" fmla="*/ 0 w 244"/>
                <a:gd name="T47" fmla="*/ 140 h 140"/>
                <a:gd name="T48" fmla="*/ 14 w 244"/>
                <a:gd name="T49" fmla="*/ 132 h 140"/>
                <a:gd name="T50" fmla="*/ 28 w 244"/>
                <a:gd name="T51" fmla="*/ 120 h 140"/>
                <a:gd name="T52" fmla="*/ 42 w 244"/>
                <a:gd name="T53" fmla="*/ 120 h 140"/>
                <a:gd name="T54" fmla="*/ 54 w 244"/>
                <a:gd name="T55" fmla="*/ 132 h 140"/>
                <a:gd name="T56" fmla="*/ 66 w 244"/>
                <a:gd name="T57" fmla="*/ 140 h 140"/>
                <a:gd name="T58" fmla="*/ 80 w 244"/>
                <a:gd name="T59" fmla="*/ 140 h 140"/>
                <a:gd name="T60" fmla="*/ 94 w 244"/>
                <a:gd name="T61" fmla="*/ 132 h 140"/>
                <a:gd name="T62" fmla="*/ 108 w 244"/>
                <a:gd name="T63" fmla="*/ 120 h 140"/>
                <a:gd name="T64" fmla="*/ 122 w 244"/>
                <a:gd name="T65" fmla="*/ 132 h 140"/>
                <a:gd name="T66" fmla="*/ 136 w 244"/>
                <a:gd name="T67" fmla="*/ 140 h 140"/>
                <a:gd name="T68" fmla="*/ 148 w 244"/>
                <a:gd name="T69" fmla="*/ 140 h 140"/>
                <a:gd name="T70" fmla="*/ 162 w 244"/>
                <a:gd name="T71" fmla="*/ 132 h 140"/>
                <a:gd name="T72" fmla="*/ 170 w 244"/>
                <a:gd name="T73" fmla="*/ 114 h 140"/>
                <a:gd name="T74" fmla="*/ 184 w 244"/>
                <a:gd name="T75" fmla="*/ 96 h 140"/>
                <a:gd name="T76" fmla="*/ 198 w 244"/>
                <a:gd name="T77" fmla="*/ 86 h 140"/>
                <a:gd name="T78" fmla="*/ 204 w 244"/>
                <a:gd name="T79" fmla="*/ 86 h 140"/>
                <a:gd name="T80" fmla="*/ 216 w 244"/>
                <a:gd name="T81" fmla="*/ 86 h 140"/>
                <a:gd name="T82" fmla="*/ 230 w 244"/>
                <a:gd name="T83" fmla="*/ 78 h 140"/>
                <a:gd name="T84" fmla="*/ 238 w 244"/>
                <a:gd name="T85" fmla="*/ 60 h 140"/>
                <a:gd name="T86" fmla="*/ 238 w 244"/>
                <a:gd name="T87" fmla="*/ 44 h 140"/>
                <a:gd name="T88" fmla="*/ 244 w 244"/>
                <a:gd name="T89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40">
                  <a:moveTo>
                    <a:pt x="244" y="26"/>
                  </a:moveTo>
                  <a:lnTo>
                    <a:pt x="238" y="26"/>
                  </a:lnTo>
                  <a:lnTo>
                    <a:pt x="230" y="26"/>
                  </a:lnTo>
                  <a:lnTo>
                    <a:pt x="216" y="26"/>
                  </a:lnTo>
                  <a:lnTo>
                    <a:pt x="198" y="16"/>
                  </a:lnTo>
                  <a:lnTo>
                    <a:pt x="190" y="0"/>
                  </a:lnTo>
                  <a:lnTo>
                    <a:pt x="190" y="2"/>
                  </a:lnTo>
                  <a:lnTo>
                    <a:pt x="184" y="6"/>
                  </a:lnTo>
                  <a:lnTo>
                    <a:pt x="176" y="26"/>
                  </a:lnTo>
                  <a:lnTo>
                    <a:pt x="170" y="44"/>
                  </a:lnTo>
                  <a:lnTo>
                    <a:pt x="156" y="60"/>
                  </a:lnTo>
                  <a:lnTo>
                    <a:pt x="136" y="70"/>
                  </a:lnTo>
                  <a:lnTo>
                    <a:pt x="122" y="70"/>
                  </a:lnTo>
                  <a:lnTo>
                    <a:pt x="108" y="78"/>
                  </a:lnTo>
                  <a:lnTo>
                    <a:pt x="94" y="78"/>
                  </a:lnTo>
                  <a:lnTo>
                    <a:pt x="80" y="78"/>
                  </a:lnTo>
                  <a:lnTo>
                    <a:pt x="66" y="78"/>
                  </a:lnTo>
                  <a:lnTo>
                    <a:pt x="54" y="70"/>
                  </a:lnTo>
                  <a:lnTo>
                    <a:pt x="42" y="78"/>
                  </a:lnTo>
                  <a:lnTo>
                    <a:pt x="28" y="78"/>
                  </a:lnTo>
                  <a:lnTo>
                    <a:pt x="14" y="96"/>
                  </a:lnTo>
                  <a:lnTo>
                    <a:pt x="14" y="114"/>
                  </a:lnTo>
                  <a:lnTo>
                    <a:pt x="0" y="120"/>
                  </a:lnTo>
                  <a:lnTo>
                    <a:pt x="0" y="140"/>
                  </a:lnTo>
                  <a:lnTo>
                    <a:pt x="14" y="132"/>
                  </a:lnTo>
                  <a:lnTo>
                    <a:pt x="28" y="120"/>
                  </a:lnTo>
                  <a:lnTo>
                    <a:pt x="42" y="120"/>
                  </a:lnTo>
                  <a:lnTo>
                    <a:pt x="54" y="132"/>
                  </a:lnTo>
                  <a:lnTo>
                    <a:pt x="66" y="140"/>
                  </a:lnTo>
                  <a:lnTo>
                    <a:pt x="80" y="140"/>
                  </a:lnTo>
                  <a:lnTo>
                    <a:pt x="94" y="132"/>
                  </a:lnTo>
                  <a:lnTo>
                    <a:pt x="108" y="120"/>
                  </a:lnTo>
                  <a:lnTo>
                    <a:pt x="122" y="132"/>
                  </a:lnTo>
                  <a:lnTo>
                    <a:pt x="136" y="140"/>
                  </a:lnTo>
                  <a:lnTo>
                    <a:pt x="148" y="140"/>
                  </a:lnTo>
                  <a:lnTo>
                    <a:pt x="162" y="132"/>
                  </a:lnTo>
                  <a:lnTo>
                    <a:pt x="170" y="114"/>
                  </a:lnTo>
                  <a:lnTo>
                    <a:pt x="184" y="96"/>
                  </a:lnTo>
                  <a:lnTo>
                    <a:pt x="198" y="86"/>
                  </a:lnTo>
                  <a:lnTo>
                    <a:pt x="204" y="86"/>
                  </a:lnTo>
                  <a:lnTo>
                    <a:pt x="216" y="86"/>
                  </a:lnTo>
                  <a:lnTo>
                    <a:pt x="230" y="78"/>
                  </a:lnTo>
                  <a:lnTo>
                    <a:pt x="238" y="60"/>
                  </a:lnTo>
                  <a:lnTo>
                    <a:pt x="238" y="44"/>
                  </a:lnTo>
                  <a:lnTo>
                    <a:pt x="244" y="26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69"/>
            <p:cNvSpPr>
              <a:spLocks/>
            </p:cNvSpPr>
            <p:nvPr/>
          </p:nvSpPr>
          <p:spPr bwMode="auto">
            <a:xfrm>
              <a:off x="3308616" y="4297762"/>
              <a:ext cx="364736" cy="209275"/>
            </a:xfrm>
            <a:custGeom>
              <a:avLst/>
              <a:gdLst>
                <a:gd name="T0" fmla="*/ 244 w 244"/>
                <a:gd name="T1" fmla="*/ 26 h 140"/>
                <a:gd name="T2" fmla="*/ 238 w 244"/>
                <a:gd name="T3" fmla="*/ 26 h 140"/>
                <a:gd name="T4" fmla="*/ 230 w 244"/>
                <a:gd name="T5" fmla="*/ 26 h 140"/>
                <a:gd name="T6" fmla="*/ 216 w 244"/>
                <a:gd name="T7" fmla="*/ 26 h 140"/>
                <a:gd name="T8" fmla="*/ 198 w 244"/>
                <a:gd name="T9" fmla="*/ 16 h 140"/>
                <a:gd name="T10" fmla="*/ 190 w 244"/>
                <a:gd name="T11" fmla="*/ 0 h 140"/>
                <a:gd name="T12" fmla="*/ 190 w 244"/>
                <a:gd name="T13" fmla="*/ 2 h 140"/>
                <a:gd name="T14" fmla="*/ 184 w 244"/>
                <a:gd name="T15" fmla="*/ 6 h 140"/>
                <a:gd name="T16" fmla="*/ 176 w 244"/>
                <a:gd name="T17" fmla="*/ 26 h 140"/>
                <a:gd name="T18" fmla="*/ 170 w 244"/>
                <a:gd name="T19" fmla="*/ 44 h 140"/>
                <a:gd name="T20" fmla="*/ 156 w 244"/>
                <a:gd name="T21" fmla="*/ 60 h 140"/>
                <a:gd name="T22" fmla="*/ 136 w 244"/>
                <a:gd name="T23" fmla="*/ 70 h 140"/>
                <a:gd name="T24" fmla="*/ 122 w 244"/>
                <a:gd name="T25" fmla="*/ 70 h 140"/>
                <a:gd name="T26" fmla="*/ 108 w 244"/>
                <a:gd name="T27" fmla="*/ 78 h 140"/>
                <a:gd name="T28" fmla="*/ 94 w 244"/>
                <a:gd name="T29" fmla="*/ 78 h 140"/>
                <a:gd name="T30" fmla="*/ 80 w 244"/>
                <a:gd name="T31" fmla="*/ 78 h 140"/>
                <a:gd name="T32" fmla="*/ 66 w 244"/>
                <a:gd name="T33" fmla="*/ 78 h 140"/>
                <a:gd name="T34" fmla="*/ 54 w 244"/>
                <a:gd name="T35" fmla="*/ 70 h 140"/>
                <a:gd name="T36" fmla="*/ 42 w 244"/>
                <a:gd name="T37" fmla="*/ 78 h 140"/>
                <a:gd name="T38" fmla="*/ 28 w 244"/>
                <a:gd name="T39" fmla="*/ 78 h 140"/>
                <a:gd name="T40" fmla="*/ 14 w 244"/>
                <a:gd name="T41" fmla="*/ 96 h 140"/>
                <a:gd name="T42" fmla="*/ 14 w 244"/>
                <a:gd name="T43" fmla="*/ 114 h 140"/>
                <a:gd name="T44" fmla="*/ 0 w 244"/>
                <a:gd name="T45" fmla="*/ 120 h 140"/>
                <a:gd name="T46" fmla="*/ 0 w 244"/>
                <a:gd name="T47" fmla="*/ 140 h 140"/>
                <a:gd name="T48" fmla="*/ 14 w 244"/>
                <a:gd name="T49" fmla="*/ 132 h 140"/>
                <a:gd name="T50" fmla="*/ 28 w 244"/>
                <a:gd name="T51" fmla="*/ 120 h 140"/>
                <a:gd name="T52" fmla="*/ 42 w 244"/>
                <a:gd name="T53" fmla="*/ 120 h 140"/>
                <a:gd name="T54" fmla="*/ 54 w 244"/>
                <a:gd name="T55" fmla="*/ 132 h 140"/>
                <a:gd name="T56" fmla="*/ 66 w 244"/>
                <a:gd name="T57" fmla="*/ 140 h 140"/>
                <a:gd name="T58" fmla="*/ 80 w 244"/>
                <a:gd name="T59" fmla="*/ 140 h 140"/>
                <a:gd name="T60" fmla="*/ 94 w 244"/>
                <a:gd name="T61" fmla="*/ 132 h 140"/>
                <a:gd name="T62" fmla="*/ 108 w 244"/>
                <a:gd name="T63" fmla="*/ 120 h 140"/>
                <a:gd name="T64" fmla="*/ 122 w 244"/>
                <a:gd name="T65" fmla="*/ 132 h 140"/>
                <a:gd name="T66" fmla="*/ 136 w 244"/>
                <a:gd name="T67" fmla="*/ 140 h 140"/>
                <a:gd name="T68" fmla="*/ 148 w 244"/>
                <a:gd name="T69" fmla="*/ 140 h 140"/>
                <a:gd name="T70" fmla="*/ 162 w 244"/>
                <a:gd name="T71" fmla="*/ 132 h 140"/>
                <a:gd name="T72" fmla="*/ 170 w 244"/>
                <a:gd name="T73" fmla="*/ 114 h 140"/>
                <a:gd name="T74" fmla="*/ 184 w 244"/>
                <a:gd name="T75" fmla="*/ 96 h 140"/>
                <a:gd name="T76" fmla="*/ 198 w 244"/>
                <a:gd name="T77" fmla="*/ 86 h 140"/>
                <a:gd name="T78" fmla="*/ 204 w 244"/>
                <a:gd name="T79" fmla="*/ 86 h 140"/>
                <a:gd name="T80" fmla="*/ 216 w 244"/>
                <a:gd name="T81" fmla="*/ 86 h 140"/>
                <a:gd name="T82" fmla="*/ 230 w 244"/>
                <a:gd name="T83" fmla="*/ 78 h 140"/>
                <a:gd name="T84" fmla="*/ 238 w 244"/>
                <a:gd name="T85" fmla="*/ 60 h 140"/>
                <a:gd name="T86" fmla="*/ 238 w 244"/>
                <a:gd name="T87" fmla="*/ 44 h 140"/>
                <a:gd name="T88" fmla="*/ 244 w 244"/>
                <a:gd name="T89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40">
                  <a:moveTo>
                    <a:pt x="244" y="26"/>
                  </a:moveTo>
                  <a:lnTo>
                    <a:pt x="238" y="26"/>
                  </a:lnTo>
                  <a:lnTo>
                    <a:pt x="230" y="26"/>
                  </a:lnTo>
                  <a:lnTo>
                    <a:pt x="216" y="26"/>
                  </a:lnTo>
                  <a:lnTo>
                    <a:pt x="198" y="16"/>
                  </a:lnTo>
                  <a:lnTo>
                    <a:pt x="190" y="0"/>
                  </a:lnTo>
                  <a:lnTo>
                    <a:pt x="190" y="2"/>
                  </a:lnTo>
                  <a:lnTo>
                    <a:pt x="184" y="6"/>
                  </a:lnTo>
                  <a:lnTo>
                    <a:pt x="176" y="26"/>
                  </a:lnTo>
                  <a:lnTo>
                    <a:pt x="170" y="44"/>
                  </a:lnTo>
                  <a:lnTo>
                    <a:pt x="156" y="60"/>
                  </a:lnTo>
                  <a:lnTo>
                    <a:pt x="136" y="70"/>
                  </a:lnTo>
                  <a:lnTo>
                    <a:pt x="122" y="70"/>
                  </a:lnTo>
                  <a:lnTo>
                    <a:pt x="108" y="78"/>
                  </a:lnTo>
                  <a:lnTo>
                    <a:pt x="94" y="78"/>
                  </a:lnTo>
                  <a:lnTo>
                    <a:pt x="80" y="78"/>
                  </a:lnTo>
                  <a:lnTo>
                    <a:pt x="66" y="78"/>
                  </a:lnTo>
                  <a:lnTo>
                    <a:pt x="54" y="70"/>
                  </a:lnTo>
                  <a:lnTo>
                    <a:pt x="42" y="78"/>
                  </a:lnTo>
                  <a:lnTo>
                    <a:pt x="28" y="78"/>
                  </a:lnTo>
                  <a:lnTo>
                    <a:pt x="14" y="96"/>
                  </a:lnTo>
                  <a:lnTo>
                    <a:pt x="14" y="114"/>
                  </a:lnTo>
                  <a:lnTo>
                    <a:pt x="0" y="120"/>
                  </a:lnTo>
                  <a:lnTo>
                    <a:pt x="0" y="140"/>
                  </a:lnTo>
                  <a:lnTo>
                    <a:pt x="14" y="132"/>
                  </a:lnTo>
                  <a:lnTo>
                    <a:pt x="28" y="120"/>
                  </a:lnTo>
                  <a:lnTo>
                    <a:pt x="42" y="120"/>
                  </a:lnTo>
                  <a:lnTo>
                    <a:pt x="54" y="132"/>
                  </a:lnTo>
                  <a:lnTo>
                    <a:pt x="66" y="140"/>
                  </a:lnTo>
                  <a:lnTo>
                    <a:pt x="80" y="140"/>
                  </a:lnTo>
                  <a:lnTo>
                    <a:pt x="94" y="132"/>
                  </a:lnTo>
                  <a:lnTo>
                    <a:pt x="108" y="120"/>
                  </a:lnTo>
                  <a:lnTo>
                    <a:pt x="122" y="132"/>
                  </a:lnTo>
                  <a:lnTo>
                    <a:pt x="136" y="140"/>
                  </a:lnTo>
                  <a:lnTo>
                    <a:pt x="148" y="140"/>
                  </a:lnTo>
                  <a:lnTo>
                    <a:pt x="162" y="132"/>
                  </a:lnTo>
                  <a:lnTo>
                    <a:pt x="170" y="114"/>
                  </a:lnTo>
                  <a:lnTo>
                    <a:pt x="184" y="96"/>
                  </a:lnTo>
                  <a:lnTo>
                    <a:pt x="198" y="86"/>
                  </a:lnTo>
                  <a:lnTo>
                    <a:pt x="204" y="86"/>
                  </a:lnTo>
                  <a:lnTo>
                    <a:pt x="216" y="86"/>
                  </a:lnTo>
                  <a:lnTo>
                    <a:pt x="230" y="78"/>
                  </a:lnTo>
                  <a:lnTo>
                    <a:pt x="238" y="60"/>
                  </a:lnTo>
                  <a:lnTo>
                    <a:pt x="238" y="44"/>
                  </a:lnTo>
                  <a:lnTo>
                    <a:pt x="244" y="26"/>
                  </a:lnTo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70"/>
            <p:cNvSpPr>
              <a:spLocks/>
            </p:cNvSpPr>
            <p:nvPr/>
          </p:nvSpPr>
          <p:spPr bwMode="auto">
            <a:xfrm>
              <a:off x="2725636" y="3640042"/>
              <a:ext cx="1070291" cy="840089"/>
            </a:xfrm>
            <a:custGeom>
              <a:avLst/>
              <a:gdLst>
                <a:gd name="T0" fmla="*/ 668 w 716"/>
                <a:gd name="T1" fmla="*/ 250 h 562"/>
                <a:gd name="T2" fmla="*/ 650 w 716"/>
                <a:gd name="T3" fmla="*/ 294 h 562"/>
                <a:gd name="T4" fmla="*/ 650 w 716"/>
                <a:gd name="T5" fmla="*/ 346 h 562"/>
                <a:gd name="T6" fmla="*/ 620 w 716"/>
                <a:gd name="T7" fmla="*/ 388 h 562"/>
                <a:gd name="T8" fmla="*/ 580 w 716"/>
                <a:gd name="T9" fmla="*/ 416 h 562"/>
                <a:gd name="T10" fmla="*/ 580 w 716"/>
                <a:gd name="T11" fmla="*/ 440 h 562"/>
                <a:gd name="T12" fmla="*/ 562 w 716"/>
                <a:gd name="T13" fmla="*/ 484 h 562"/>
                <a:gd name="T14" fmla="*/ 514 w 716"/>
                <a:gd name="T15" fmla="*/ 510 h 562"/>
                <a:gd name="T16" fmla="*/ 472 w 716"/>
                <a:gd name="T17" fmla="*/ 520 h 562"/>
                <a:gd name="T18" fmla="*/ 432 w 716"/>
                <a:gd name="T19" fmla="*/ 520 h 562"/>
                <a:gd name="T20" fmla="*/ 398 w 716"/>
                <a:gd name="T21" fmla="*/ 536 h 562"/>
                <a:gd name="T22" fmla="*/ 358 w 716"/>
                <a:gd name="T23" fmla="*/ 554 h 562"/>
                <a:gd name="T24" fmla="*/ 318 w 716"/>
                <a:gd name="T25" fmla="*/ 554 h 562"/>
                <a:gd name="T26" fmla="*/ 282 w 716"/>
                <a:gd name="T27" fmla="*/ 536 h 562"/>
                <a:gd name="T28" fmla="*/ 270 w 716"/>
                <a:gd name="T29" fmla="*/ 492 h 562"/>
                <a:gd name="T30" fmla="*/ 250 w 716"/>
                <a:gd name="T31" fmla="*/ 448 h 562"/>
                <a:gd name="T32" fmla="*/ 236 w 716"/>
                <a:gd name="T33" fmla="*/ 406 h 562"/>
                <a:gd name="T34" fmla="*/ 208 w 716"/>
                <a:gd name="T35" fmla="*/ 372 h 562"/>
                <a:gd name="T36" fmla="*/ 168 w 716"/>
                <a:gd name="T37" fmla="*/ 380 h 562"/>
                <a:gd name="T38" fmla="*/ 128 w 716"/>
                <a:gd name="T39" fmla="*/ 380 h 562"/>
                <a:gd name="T40" fmla="*/ 106 w 716"/>
                <a:gd name="T41" fmla="*/ 354 h 562"/>
                <a:gd name="T42" fmla="*/ 66 w 716"/>
                <a:gd name="T43" fmla="*/ 364 h 562"/>
                <a:gd name="T44" fmla="*/ 24 w 716"/>
                <a:gd name="T45" fmla="*/ 372 h 562"/>
                <a:gd name="T46" fmla="*/ 12 w 716"/>
                <a:gd name="T47" fmla="*/ 364 h 562"/>
                <a:gd name="T48" fmla="*/ 24 w 716"/>
                <a:gd name="T49" fmla="*/ 326 h 562"/>
                <a:gd name="T50" fmla="*/ 52 w 716"/>
                <a:gd name="T51" fmla="*/ 284 h 562"/>
                <a:gd name="T52" fmla="*/ 94 w 716"/>
                <a:gd name="T53" fmla="*/ 268 h 562"/>
                <a:gd name="T54" fmla="*/ 134 w 716"/>
                <a:gd name="T55" fmla="*/ 268 h 562"/>
                <a:gd name="T56" fmla="*/ 174 w 716"/>
                <a:gd name="T57" fmla="*/ 268 h 562"/>
                <a:gd name="T58" fmla="*/ 236 w 716"/>
                <a:gd name="T59" fmla="*/ 250 h 562"/>
                <a:gd name="T60" fmla="*/ 236 w 716"/>
                <a:gd name="T61" fmla="*/ 206 h 562"/>
                <a:gd name="T62" fmla="*/ 242 w 716"/>
                <a:gd name="T63" fmla="*/ 154 h 562"/>
                <a:gd name="T64" fmla="*/ 256 w 716"/>
                <a:gd name="T65" fmla="*/ 102 h 562"/>
                <a:gd name="T66" fmla="*/ 282 w 716"/>
                <a:gd name="T67" fmla="*/ 68 h 562"/>
                <a:gd name="T68" fmla="*/ 296 w 716"/>
                <a:gd name="T69" fmla="*/ 34 h 562"/>
                <a:gd name="T70" fmla="*/ 324 w 716"/>
                <a:gd name="T71" fmla="*/ 42 h 562"/>
                <a:gd name="T72" fmla="*/ 344 w 716"/>
                <a:gd name="T73" fmla="*/ 62 h 562"/>
                <a:gd name="T74" fmla="*/ 384 w 716"/>
                <a:gd name="T75" fmla="*/ 34 h 562"/>
                <a:gd name="T76" fmla="*/ 426 w 716"/>
                <a:gd name="T77" fmla="*/ 0 h 562"/>
                <a:gd name="T78" fmla="*/ 460 w 716"/>
                <a:gd name="T79" fmla="*/ 26 h 562"/>
                <a:gd name="T80" fmla="*/ 512 w 716"/>
                <a:gd name="T81" fmla="*/ 26 h 562"/>
                <a:gd name="T82" fmla="*/ 560 w 716"/>
                <a:gd name="T83" fmla="*/ 62 h 562"/>
                <a:gd name="T84" fmla="*/ 608 w 716"/>
                <a:gd name="T85" fmla="*/ 78 h 562"/>
                <a:gd name="T86" fmla="*/ 650 w 716"/>
                <a:gd name="T87" fmla="*/ 112 h 562"/>
                <a:gd name="T88" fmla="*/ 696 w 716"/>
                <a:gd name="T89" fmla="*/ 112 h 562"/>
                <a:gd name="T90" fmla="*/ 702 w 716"/>
                <a:gd name="T91" fmla="*/ 154 h 562"/>
                <a:gd name="T92" fmla="*/ 668 w 716"/>
                <a:gd name="T93" fmla="*/ 190 h 562"/>
                <a:gd name="T94" fmla="*/ 688 w 716"/>
                <a:gd name="T95" fmla="*/ 24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16" h="562">
                  <a:moveTo>
                    <a:pt x="696" y="250"/>
                  </a:moveTo>
                  <a:lnTo>
                    <a:pt x="682" y="250"/>
                  </a:lnTo>
                  <a:lnTo>
                    <a:pt x="668" y="250"/>
                  </a:lnTo>
                  <a:lnTo>
                    <a:pt x="656" y="260"/>
                  </a:lnTo>
                  <a:lnTo>
                    <a:pt x="650" y="278"/>
                  </a:lnTo>
                  <a:lnTo>
                    <a:pt x="650" y="294"/>
                  </a:lnTo>
                  <a:lnTo>
                    <a:pt x="650" y="312"/>
                  </a:lnTo>
                  <a:lnTo>
                    <a:pt x="650" y="328"/>
                  </a:lnTo>
                  <a:lnTo>
                    <a:pt x="650" y="346"/>
                  </a:lnTo>
                  <a:lnTo>
                    <a:pt x="642" y="364"/>
                  </a:lnTo>
                  <a:lnTo>
                    <a:pt x="630" y="372"/>
                  </a:lnTo>
                  <a:lnTo>
                    <a:pt x="620" y="388"/>
                  </a:lnTo>
                  <a:lnTo>
                    <a:pt x="608" y="408"/>
                  </a:lnTo>
                  <a:lnTo>
                    <a:pt x="594" y="396"/>
                  </a:lnTo>
                  <a:lnTo>
                    <a:pt x="580" y="416"/>
                  </a:lnTo>
                  <a:lnTo>
                    <a:pt x="580" y="432"/>
                  </a:lnTo>
                  <a:lnTo>
                    <a:pt x="580" y="440"/>
                  </a:lnTo>
                  <a:lnTo>
                    <a:pt x="580" y="440"/>
                  </a:lnTo>
                  <a:lnTo>
                    <a:pt x="574" y="448"/>
                  </a:lnTo>
                  <a:lnTo>
                    <a:pt x="568" y="468"/>
                  </a:lnTo>
                  <a:lnTo>
                    <a:pt x="562" y="484"/>
                  </a:lnTo>
                  <a:lnTo>
                    <a:pt x="548" y="502"/>
                  </a:lnTo>
                  <a:lnTo>
                    <a:pt x="526" y="510"/>
                  </a:lnTo>
                  <a:lnTo>
                    <a:pt x="514" y="510"/>
                  </a:lnTo>
                  <a:lnTo>
                    <a:pt x="500" y="520"/>
                  </a:lnTo>
                  <a:lnTo>
                    <a:pt x="488" y="520"/>
                  </a:lnTo>
                  <a:lnTo>
                    <a:pt x="472" y="520"/>
                  </a:lnTo>
                  <a:lnTo>
                    <a:pt x="460" y="520"/>
                  </a:lnTo>
                  <a:lnTo>
                    <a:pt x="446" y="510"/>
                  </a:lnTo>
                  <a:lnTo>
                    <a:pt x="432" y="520"/>
                  </a:lnTo>
                  <a:lnTo>
                    <a:pt x="420" y="520"/>
                  </a:lnTo>
                  <a:lnTo>
                    <a:pt x="404" y="536"/>
                  </a:lnTo>
                  <a:lnTo>
                    <a:pt x="398" y="536"/>
                  </a:lnTo>
                  <a:lnTo>
                    <a:pt x="384" y="536"/>
                  </a:lnTo>
                  <a:lnTo>
                    <a:pt x="372" y="546"/>
                  </a:lnTo>
                  <a:lnTo>
                    <a:pt x="358" y="554"/>
                  </a:lnTo>
                  <a:lnTo>
                    <a:pt x="344" y="562"/>
                  </a:lnTo>
                  <a:lnTo>
                    <a:pt x="330" y="562"/>
                  </a:lnTo>
                  <a:lnTo>
                    <a:pt x="318" y="554"/>
                  </a:lnTo>
                  <a:lnTo>
                    <a:pt x="302" y="562"/>
                  </a:lnTo>
                  <a:lnTo>
                    <a:pt x="290" y="554"/>
                  </a:lnTo>
                  <a:lnTo>
                    <a:pt x="282" y="536"/>
                  </a:lnTo>
                  <a:lnTo>
                    <a:pt x="270" y="526"/>
                  </a:lnTo>
                  <a:lnTo>
                    <a:pt x="276" y="510"/>
                  </a:lnTo>
                  <a:lnTo>
                    <a:pt x="270" y="492"/>
                  </a:lnTo>
                  <a:lnTo>
                    <a:pt x="270" y="474"/>
                  </a:lnTo>
                  <a:lnTo>
                    <a:pt x="256" y="468"/>
                  </a:lnTo>
                  <a:lnTo>
                    <a:pt x="250" y="448"/>
                  </a:lnTo>
                  <a:lnTo>
                    <a:pt x="250" y="432"/>
                  </a:lnTo>
                  <a:lnTo>
                    <a:pt x="250" y="414"/>
                  </a:lnTo>
                  <a:lnTo>
                    <a:pt x="236" y="406"/>
                  </a:lnTo>
                  <a:lnTo>
                    <a:pt x="228" y="388"/>
                  </a:lnTo>
                  <a:lnTo>
                    <a:pt x="222" y="372"/>
                  </a:lnTo>
                  <a:lnTo>
                    <a:pt x="208" y="372"/>
                  </a:lnTo>
                  <a:lnTo>
                    <a:pt x="194" y="380"/>
                  </a:lnTo>
                  <a:lnTo>
                    <a:pt x="180" y="380"/>
                  </a:lnTo>
                  <a:lnTo>
                    <a:pt x="168" y="380"/>
                  </a:lnTo>
                  <a:lnTo>
                    <a:pt x="156" y="396"/>
                  </a:lnTo>
                  <a:lnTo>
                    <a:pt x="140" y="388"/>
                  </a:lnTo>
                  <a:lnTo>
                    <a:pt x="128" y="380"/>
                  </a:lnTo>
                  <a:lnTo>
                    <a:pt x="112" y="388"/>
                  </a:lnTo>
                  <a:lnTo>
                    <a:pt x="106" y="372"/>
                  </a:lnTo>
                  <a:lnTo>
                    <a:pt x="106" y="354"/>
                  </a:lnTo>
                  <a:lnTo>
                    <a:pt x="94" y="354"/>
                  </a:lnTo>
                  <a:lnTo>
                    <a:pt x="80" y="364"/>
                  </a:lnTo>
                  <a:lnTo>
                    <a:pt x="66" y="364"/>
                  </a:lnTo>
                  <a:lnTo>
                    <a:pt x="52" y="354"/>
                  </a:lnTo>
                  <a:lnTo>
                    <a:pt x="38" y="354"/>
                  </a:lnTo>
                  <a:lnTo>
                    <a:pt x="24" y="372"/>
                  </a:lnTo>
                  <a:lnTo>
                    <a:pt x="12" y="380"/>
                  </a:lnTo>
                  <a:lnTo>
                    <a:pt x="0" y="388"/>
                  </a:lnTo>
                  <a:lnTo>
                    <a:pt x="12" y="364"/>
                  </a:lnTo>
                  <a:lnTo>
                    <a:pt x="4" y="346"/>
                  </a:lnTo>
                  <a:lnTo>
                    <a:pt x="12" y="336"/>
                  </a:lnTo>
                  <a:lnTo>
                    <a:pt x="24" y="326"/>
                  </a:lnTo>
                  <a:lnTo>
                    <a:pt x="24" y="310"/>
                  </a:lnTo>
                  <a:lnTo>
                    <a:pt x="38" y="294"/>
                  </a:lnTo>
                  <a:lnTo>
                    <a:pt x="52" y="284"/>
                  </a:lnTo>
                  <a:lnTo>
                    <a:pt x="66" y="278"/>
                  </a:lnTo>
                  <a:lnTo>
                    <a:pt x="80" y="268"/>
                  </a:lnTo>
                  <a:lnTo>
                    <a:pt x="94" y="268"/>
                  </a:lnTo>
                  <a:lnTo>
                    <a:pt x="106" y="268"/>
                  </a:lnTo>
                  <a:lnTo>
                    <a:pt x="120" y="278"/>
                  </a:lnTo>
                  <a:lnTo>
                    <a:pt x="134" y="268"/>
                  </a:lnTo>
                  <a:lnTo>
                    <a:pt x="148" y="268"/>
                  </a:lnTo>
                  <a:lnTo>
                    <a:pt x="160" y="258"/>
                  </a:lnTo>
                  <a:lnTo>
                    <a:pt x="174" y="268"/>
                  </a:lnTo>
                  <a:lnTo>
                    <a:pt x="200" y="258"/>
                  </a:lnTo>
                  <a:lnTo>
                    <a:pt x="222" y="258"/>
                  </a:lnTo>
                  <a:lnTo>
                    <a:pt x="236" y="250"/>
                  </a:lnTo>
                  <a:lnTo>
                    <a:pt x="242" y="232"/>
                  </a:lnTo>
                  <a:lnTo>
                    <a:pt x="250" y="216"/>
                  </a:lnTo>
                  <a:lnTo>
                    <a:pt x="236" y="206"/>
                  </a:lnTo>
                  <a:lnTo>
                    <a:pt x="242" y="190"/>
                  </a:lnTo>
                  <a:lnTo>
                    <a:pt x="256" y="172"/>
                  </a:lnTo>
                  <a:lnTo>
                    <a:pt x="242" y="154"/>
                  </a:lnTo>
                  <a:lnTo>
                    <a:pt x="236" y="138"/>
                  </a:lnTo>
                  <a:lnTo>
                    <a:pt x="242" y="120"/>
                  </a:lnTo>
                  <a:lnTo>
                    <a:pt x="256" y="102"/>
                  </a:lnTo>
                  <a:lnTo>
                    <a:pt x="270" y="102"/>
                  </a:lnTo>
                  <a:lnTo>
                    <a:pt x="282" y="84"/>
                  </a:lnTo>
                  <a:lnTo>
                    <a:pt x="282" y="68"/>
                  </a:lnTo>
                  <a:lnTo>
                    <a:pt x="282" y="52"/>
                  </a:lnTo>
                  <a:lnTo>
                    <a:pt x="296" y="52"/>
                  </a:lnTo>
                  <a:lnTo>
                    <a:pt x="296" y="34"/>
                  </a:lnTo>
                  <a:lnTo>
                    <a:pt x="310" y="34"/>
                  </a:lnTo>
                  <a:lnTo>
                    <a:pt x="324" y="42"/>
                  </a:lnTo>
                  <a:lnTo>
                    <a:pt x="324" y="42"/>
                  </a:lnTo>
                  <a:lnTo>
                    <a:pt x="324" y="52"/>
                  </a:lnTo>
                  <a:lnTo>
                    <a:pt x="330" y="70"/>
                  </a:lnTo>
                  <a:lnTo>
                    <a:pt x="344" y="62"/>
                  </a:lnTo>
                  <a:lnTo>
                    <a:pt x="350" y="62"/>
                  </a:lnTo>
                  <a:lnTo>
                    <a:pt x="372" y="42"/>
                  </a:lnTo>
                  <a:lnTo>
                    <a:pt x="384" y="34"/>
                  </a:lnTo>
                  <a:lnTo>
                    <a:pt x="398" y="18"/>
                  </a:lnTo>
                  <a:lnTo>
                    <a:pt x="412" y="8"/>
                  </a:lnTo>
                  <a:lnTo>
                    <a:pt x="426" y="0"/>
                  </a:lnTo>
                  <a:lnTo>
                    <a:pt x="446" y="0"/>
                  </a:lnTo>
                  <a:lnTo>
                    <a:pt x="460" y="8"/>
                  </a:lnTo>
                  <a:lnTo>
                    <a:pt x="460" y="26"/>
                  </a:lnTo>
                  <a:lnTo>
                    <a:pt x="488" y="34"/>
                  </a:lnTo>
                  <a:lnTo>
                    <a:pt x="498" y="34"/>
                  </a:lnTo>
                  <a:lnTo>
                    <a:pt x="512" y="26"/>
                  </a:lnTo>
                  <a:lnTo>
                    <a:pt x="526" y="26"/>
                  </a:lnTo>
                  <a:lnTo>
                    <a:pt x="538" y="42"/>
                  </a:lnTo>
                  <a:lnTo>
                    <a:pt x="560" y="62"/>
                  </a:lnTo>
                  <a:lnTo>
                    <a:pt x="574" y="62"/>
                  </a:lnTo>
                  <a:lnTo>
                    <a:pt x="588" y="70"/>
                  </a:lnTo>
                  <a:lnTo>
                    <a:pt x="608" y="78"/>
                  </a:lnTo>
                  <a:lnTo>
                    <a:pt x="614" y="94"/>
                  </a:lnTo>
                  <a:lnTo>
                    <a:pt x="634" y="104"/>
                  </a:lnTo>
                  <a:lnTo>
                    <a:pt x="650" y="112"/>
                  </a:lnTo>
                  <a:lnTo>
                    <a:pt x="668" y="104"/>
                  </a:lnTo>
                  <a:lnTo>
                    <a:pt x="676" y="122"/>
                  </a:lnTo>
                  <a:lnTo>
                    <a:pt x="696" y="112"/>
                  </a:lnTo>
                  <a:lnTo>
                    <a:pt x="710" y="122"/>
                  </a:lnTo>
                  <a:lnTo>
                    <a:pt x="716" y="138"/>
                  </a:lnTo>
                  <a:lnTo>
                    <a:pt x="702" y="154"/>
                  </a:lnTo>
                  <a:lnTo>
                    <a:pt x="688" y="174"/>
                  </a:lnTo>
                  <a:lnTo>
                    <a:pt x="676" y="174"/>
                  </a:lnTo>
                  <a:lnTo>
                    <a:pt x="668" y="190"/>
                  </a:lnTo>
                  <a:lnTo>
                    <a:pt x="668" y="208"/>
                  </a:lnTo>
                  <a:lnTo>
                    <a:pt x="682" y="226"/>
                  </a:lnTo>
                  <a:lnTo>
                    <a:pt x="688" y="242"/>
                  </a:lnTo>
                  <a:lnTo>
                    <a:pt x="696" y="25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71"/>
            <p:cNvSpPr>
              <a:spLocks/>
            </p:cNvSpPr>
            <p:nvPr/>
          </p:nvSpPr>
          <p:spPr bwMode="auto">
            <a:xfrm>
              <a:off x="2725636" y="3640042"/>
              <a:ext cx="1070291" cy="840089"/>
            </a:xfrm>
            <a:custGeom>
              <a:avLst/>
              <a:gdLst>
                <a:gd name="T0" fmla="*/ 668 w 716"/>
                <a:gd name="T1" fmla="*/ 250 h 562"/>
                <a:gd name="T2" fmla="*/ 650 w 716"/>
                <a:gd name="T3" fmla="*/ 294 h 562"/>
                <a:gd name="T4" fmla="*/ 650 w 716"/>
                <a:gd name="T5" fmla="*/ 346 h 562"/>
                <a:gd name="T6" fmla="*/ 620 w 716"/>
                <a:gd name="T7" fmla="*/ 388 h 562"/>
                <a:gd name="T8" fmla="*/ 580 w 716"/>
                <a:gd name="T9" fmla="*/ 416 h 562"/>
                <a:gd name="T10" fmla="*/ 580 w 716"/>
                <a:gd name="T11" fmla="*/ 440 h 562"/>
                <a:gd name="T12" fmla="*/ 562 w 716"/>
                <a:gd name="T13" fmla="*/ 484 h 562"/>
                <a:gd name="T14" fmla="*/ 514 w 716"/>
                <a:gd name="T15" fmla="*/ 510 h 562"/>
                <a:gd name="T16" fmla="*/ 472 w 716"/>
                <a:gd name="T17" fmla="*/ 520 h 562"/>
                <a:gd name="T18" fmla="*/ 432 w 716"/>
                <a:gd name="T19" fmla="*/ 520 h 562"/>
                <a:gd name="T20" fmla="*/ 398 w 716"/>
                <a:gd name="T21" fmla="*/ 536 h 562"/>
                <a:gd name="T22" fmla="*/ 358 w 716"/>
                <a:gd name="T23" fmla="*/ 554 h 562"/>
                <a:gd name="T24" fmla="*/ 318 w 716"/>
                <a:gd name="T25" fmla="*/ 554 h 562"/>
                <a:gd name="T26" fmla="*/ 282 w 716"/>
                <a:gd name="T27" fmla="*/ 536 h 562"/>
                <a:gd name="T28" fmla="*/ 270 w 716"/>
                <a:gd name="T29" fmla="*/ 492 h 562"/>
                <a:gd name="T30" fmla="*/ 250 w 716"/>
                <a:gd name="T31" fmla="*/ 448 h 562"/>
                <a:gd name="T32" fmla="*/ 236 w 716"/>
                <a:gd name="T33" fmla="*/ 406 h 562"/>
                <a:gd name="T34" fmla="*/ 208 w 716"/>
                <a:gd name="T35" fmla="*/ 372 h 562"/>
                <a:gd name="T36" fmla="*/ 168 w 716"/>
                <a:gd name="T37" fmla="*/ 380 h 562"/>
                <a:gd name="T38" fmla="*/ 128 w 716"/>
                <a:gd name="T39" fmla="*/ 380 h 562"/>
                <a:gd name="T40" fmla="*/ 106 w 716"/>
                <a:gd name="T41" fmla="*/ 354 h 562"/>
                <a:gd name="T42" fmla="*/ 66 w 716"/>
                <a:gd name="T43" fmla="*/ 364 h 562"/>
                <a:gd name="T44" fmla="*/ 24 w 716"/>
                <a:gd name="T45" fmla="*/ 372 h 562"/>
                <a:gd name="T46" fmla="*/ 12 w 716"/>
                <a:gd name="T47" fmla="*/ 364 h 562"/>
                <a:gd name="T48" fmla="*/ 24 w 716"/>
                <a:gd name="T49" fmla="*/ 326 h 562"/>
                <a:gd name="T50" fmla="*/ 52 w 716"/>
                <a:gd name="T51" fmla="*/ 284 h 562"/>
                <a:gd name="T52" fmla="*/ 94 w 716"/>
                <a:gd name="T53" fmla="*/ 268 h 562"/>
                <a:gd name="T54" fmla="*/ 134 w 716"/>
                <a:gd name="T55" fmla="*/ 268 h 562"/>
                <a:gd name="T56" fmla="*/ 174 w 716"/>
                <a:gd name="T57" fmla="*/ 268 h 562"/>
                <a:gd name="T58" fmla="*/ 236 w 716"/>
                <a:gd name="T59" fmla="*/ 250 h 562"/>
                <a:gd name="T60" fmla="*/ 236 w 716"/>
                <a:gd name="T61" fmla="*/ 206 h 562"/>
                <a:gd name="T62" fmla="*/ 242 w 716"/>
                <a:gd name="T63" fmla="*/ 154 h 562"/>
                <a:gd name="T64" fmla="*/ 256 w 716"/>
                <a:gd name="T65" fmla="*/ 102 h 562"/>
                <a:gd name="T66" fmla="*/ 282 w 716"/>
                <a:gd name="T67" fmla="*/ 68 h 562"/>
                <a:gd name="T68" fmla="*/ 296 w 716"/>
                <a:gd name="T69" fmla="*/ 34 h 562"/>
                <a:gd name="T70" fmla="*/ 324 w 716"/>
                <a:gd name="T71" fmla="*/ 42 h 562"/>
                <a:gd name="T72" fmla="*/ 344 w 716"/>
                <a:gd name="T73" fmla="*/ 62 h 562"/>
                <a:gd name="T74" fmla="*/ 384 w 716"/>
                <a:gd name="T75" fmla="*/ 34 h 562"/>
                <a:gd name="T76" fmla="*/ 426 w 716"/>
                <a:gd name="T77" fmla="*/ 0 h 562"/>
                <a:gd name="T78" fmla="*/ 460 w 716"/>
                <a:gd name="T79" fmla="*/ 26 h 562"/>
                <a:gd name="T80" fmla="*/ 512 w 716"/>
                <a:gd name="T81" fmla="*/ 26 h 562"/>
                <a:gd name="T82" fmla="*/ 560 w 716"/>
                <a:gd name="T83" fmla="*/ 62 h 562"/>
                <a:gd name="T84" fmla="*/ 608 w 716"/>
                <a:gd name="T85" fmla="*/ 78 h 562"/>
                <a:gd name="T86" fmla="*/ 650 w 716"/>
                <a:gd name="T87" fmla="*/ 112 h 562"/>
                <a:gd name="T88" fmla="*/ 696 w 716"/>
                <a:gd name="T89" fmla="*/ 112 h 562"/>
                <a:gd name="T90" fmla="*/ 702 w 716"/>
                <a:gd name="T91" fmla="*/ 154 h 562"/>
                <a:gd name="T92" fmla="*/ 668 w 716"/>
                <a:gd name="T93" fmla="*/ 190 h 562"/>
                <a:gd name="T94" fmla="*/ 688 w 716"/>
                <a:gd name="T95" fmla="*/ 24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16" h="562">
                  <a:moveTo>
                    <a:pt x="696" y="250"/>
                  </a:moveTo>
                  <a:lnTo>
                    <a:pt x="682" y="250"/>
                  </a:lnTo>
                  <a:lnTo>
                    <a:pt x="668" y="250"/>
                  </a:lnTo>
                  <a:lnTo>
                    <a:pt x="656" y="260"/>
                  </a:lnTo>
                  <a:lnTo>
                    <a:pt x="650" y="278"/>
                  </a:lnTo>
                  <a:lnTo>
                    <a:pt x="650" y="294"/>
                  </a:lnTo>
                  <a:lnTo>
                    <a:pt x="650" y="312"/>
                  </a:lnTo>
                  <a:lnTo>
                    <a:pt x="650" y="328"/>
                  </a:lnTo>
                  <a:lnTo>
                    <a:pt x="650" y="346"/>
                  </a:lnTo>
                  <a:lnTo>
                    <a:pt x="642" y="364"/>
                  </a:lnTo>
                  <a:lnTo>
                    <a:pt x="630" y="372"/>
                  </a:lnTo>
                  <a:lnTo>
                    <a:pt x="620" y="388"/>
                  </a:lnTo>
                  <a:lnTo>
                    <a:pt x="608" y="408"/>
                  </a:lnTo>
                  <a:lnTo>
                    <a:pt x="594" y="396"/>
                  </a:lnTo>
                  <a:lnTo>
                    <a:pt x="580" y="416"/>
                  </a:lnTo>
                  <a:lnTo>
                    <a:pt x="580" y="432"/>
                  </a:lnTo>
                  <a:lnTo>
                    <a:pt x="580" y="440"/>
                  </a:lnTo>
                  <a:lnTo>
                    <a:pt x="580" y="440"/>
                  </a:lnTo>
                  <a:lnTo>
                    <a:pt x="574" y="448"/>
                  </a:lnTo>
                  <a:lnTo>
                    <a:pt x="568" y="468"/>
                  </a:lnTo>
                  <a:lnTo>
                    <a:pt x="562" y="484"/>
                  </a:lnTo>
                  <a:lnTo>
                    <a:pt x="548" y="502"/>
                  </a:lnTo>
                  <a:lnTo>
                    <a:pt x="526" y="510"/>
                  </a:lnTo>
                  <a:lnTo>
                    <a:pt x="514" y="510"/>
                  </a:lnTo>
                  <a:lnTo>
                    <a:pt x="500" y="520"/>
                  </a:lnTo>
                  <a:lnTo>
                    <a:pt x="488" y="520"/>
                  </a:lnTo>
                  <a:lnTo>
                    <a:pt x="472" y="520"/>
                  </a:lnTo>
                  <a:lnTo>
                    <a:pt x="460" y="520"/>
                  </a:lnTo>
                  <a:lnTo>
                    <a:pt x="446" y="510"/>
                  </a:lnTo>
                  <a:lnTo>
                    <a:pt x="432" y="520"/>
                  </a:lnTo>
                  <a:lnTo>
                    <a:pt x="420" y="520"/>
                  </a:lnTo>
                  <a:lnTo>
                    <a:pt x="404" y="536"/>
                  </a:lnTo>
                  <a:lnTo>
                    <a:pt x="398" y="536"/>
                  </a:lnTo>
                  <a:lnTo>
                    <a:pt x="384" y="536"/>
                  </a:lnTo>
                  <a:lnTo>
                    <a:pt x="372" y="546"/>
                  </a:lnTo>
                  <a:lnTo>
                    <a:pt x="358" y="554"/>
                  </a:lnTo>
                  <a:lnTo>
                    <a:pt x="344" y="562"/>
                  </a:lnTo>
                  <a:lnTo>
                    <a:pt x="330" y="562"/>
                  </a:lnTo>
                  <a:lnTo>
                    <a:pt x="318" y="554"/>
                  </a:lnTo>
                  <a:lnTo>
                    <a:pt x="302" y="562"/>
                  </a:lnTo>
                  <a:lnTo>
                    <a:pt x="290" y="554"/>
                  </a:lnTo>
                  <a:lnTo>
                    <a:pt x="282" y="536"/>
                  </a:lnTo>
                  <a:lnTo>
                    <a:pt x="270" y="526"/>
                  </a:lnTo>
                  <a:lnTo>
                    <a:pt x="276" y="510"/>
                  </a:lnTo>
                  <a:lnTo>
                    <a:pt x="270" y="492"/>
                  </a:lnTo>
                  <a:lnTo>
                    <a:pt x="270" y="474"/>
                  </a:lnTo>
                  <a:lnTo>
                    <a:pt x="256" y="468"/>
                  </a:lnTo>
                  <a:lnTo>
                    <a:pt x="250" y="448"/>
                  </a:lnTo>
                  <a:lnTo>
                    <a:pt x="250" y="432"/>
                  </a:lnTo>
                  <a:lnTo>
                    <a:pt x="250" y="414"/>
                  </a:lnTo>
                  <a:lnTo>
                    <a:pt x="236" y="406"/>
                  </a:lnTo>
                  <a:lnTo>
                    <a:pt x="228" y="388"/>
                  </a:lnTo>
                  <a:lnTo>
                    <a:pt x="222" y="372"/>
                  </a:lnTo>
                  <a:lnTo>
                    <a:pt x="208" y="372"/>
                  </a:lnTo>
                  <a:lnTo>
                    <a:pt x="194" y="380"/>
                  </a:lnTo>
                  <a:lnTo>
                    <a:pt x="180" y="380"/>
                  </a:lnTo>
                  <a:lnTo>
                    <a:pt x="168" y="380"/>
                  </a:lnTo>
                  <a:lnTo>
                    <a:pt x="156" y="396"/>
                  </a:lnTo>
                  <a:lnTo>
                    <a:pt x="140" y="388"/>
                  </a:lnTo>
                  <a:lnTo>
                    <a:pt x="128" y="380"/>
                  </a:lnTo>
                  <a:lnTo>
                    <a:pt x="112" y="388"/>
                  </a:lnTo>
                  <a:lnTo>
                    <a:pt x="106" y="372"/>
                  </a:lnTo>
                  <a:lnTo>
                    <a:pt x="106" y="354"/>
                  </a:lnTo>
                  <a:lnTo>
                    <a:pt x="94" y="354"/>
                  </a:lnTo>
                  <a:lnTo>
                    <a:pt x="80" y="364"/>
                  </a:lnTo>
                  <a:lnTo>
                    <a:pt x="66" y="364"/>
                  </a:lnTo>
                  <a:lnTo>
                    <a:pt x="52" y="354"/>
                  </a:lnTo>
                  <a:lnTo>
                    <a:pt x="38" y="354"/>
                  </a:lnTo>
                  <a:lnTo>
                    <a:pt x="24" y="372"/>
                  </a:lnTo>
                  <a:lnTo>
                    <a:pt x="12" y="380"/>
                  </a:lnTo>
                  <a:lnTo>
                    <a:pt x="0" y="388"/>
                  </a:lnTo>
                  <a:lnTo>
                    <a:pt x="12" y="364"/>
                  </a:lnTo>
                  <a:lnTo>
                    <a:pt x="4" y="346"/>
                  </a:lnTo>
                  <a:lnTo>
                    <a:pt x="12" y="336"/>
                  </a:lnTo>
                  <a:lnTo>
                    <a:pt x="24" y="326"/>
                  </a:lnTo>
                  <a:lnTo>
                    <a:pt x="24" y="310"/>
                  </a:lnTo>
                  <a:lnTo>
                    <a:pt x="38" y="294"/>
                  </a:lnTo>
                  <a:lnTo>
                    <a:pt x="52" y="284"/>
                  </a:lnTo>
                  <a:lnTo>
                    <a:pt x="66" y="278"/>
                  </a:lnTo>
                  <a:lnTo>
                    <a:pt x="80" y="268"/>
                  </a:lnTo>
                  <a:lnTo>
                    <a:pt x="94" y="268"/>
                  </a:lnTo>
                  <a:lnTo>
                    <a:pt x="106" y="268"/>
                  </a:lnTo>
                  <a:lnTo>
                    <a:pt x="120" y="278"/>
                  </a:lnTo>
                  <a:lnTo>
                    <a:pt x="134" y="268"/>
                  </a:lnTo>
                  <a:lnTo>
                    <a:pt x="148" y="268"/>
                  </a:lnTo>
                  <a:lnTo>
                    <a:pt x="160" y="258"/>
                  </a:lnTo>
                  <a:lnTo>
                    <a:pt x="174" y="268"/>
                  </a:lnTo>
                  <a:lnTo>
                    <a:pt x="200" y="258"/>
                  </a:lnTo>
                  <a:lnTo>
                    <a:pt x="222" y="258"/>
                  </a:lnTo>
                  <a:lnTo>
                    <a:pt x="236" y="250"/>
                  </a:lnTo>
                  <a:lnTo>
                    <a:pt x="242" y="232"/>
                  </a:lnTo>
                  <a:lnTo>
                    <a:pt x="250" y="216"/>
                  </a:lnTo>
                  <a:lnTo>
                    <a:pt x="236" y="206"/>
                  </a:lnTo>
                  <a:lnTo>
                    <a:pt x="242" y="190"/>
                  </a:lnTo>
                  <a:lnTo>
                    <a:pt x="256" y="172"/>
                  </a:lnTo>
                  <a:lnTo>
                    <a:pt x="242" y="154"/>
                  </a:lnTo>
                  <a:lnTo>
                    <a:pt x="236" y="138"/>
                  </a:lnTo>
                  <a:lnTo>
                    <a:pt x="242" y="120"/>
                  </a:lnTo>
                  <a:lnTo>
                    <a:pt x="256" y="102"/>
                  </a:lnTo>
                  <a:lnTo>
                    <a:pt x="270" y="102"/>
                  </a:lnTo>
                  <a:lnTo>
                    <a:pt x="282" y="84"/>
                  </a:lnTo>
                  <a:lnTo>
                    <a:pt x="282" y="68"/>
                  </a:lnTo>
                  <a:lnTo>
                    <a:pt x="282" y="52"/>
                  </a:lnTo>
                  <a:lnTo>
                    <a:pt x="296" y="52"/>
                  </a:lnTo>
                  <a:lnTo>
                    <a:pt x="296" y="34"/>
                  </a:lnTo>
                  <a:lnTo>
                    <a:pt x="310" y="34"/>
                  </a:lnTo>
                  <a:lnTo>
                    <a:pt x="324" y="42"/>
                  </a:lnTo>
                  <a:lnTo>
                    <a:pt x="324" y="42"/>
                  </a:lnTo>
                  <a:lnTo>
                    <a:pt x="324" y="52"/>
                  </a:lnTo>
                  <a:lnTo>
                    <a:pt x="330" y="70"/>
                  </a:lnTo>
                  <a:lnTo>
                    <a:pt x="344" y="62"/>
                  </a:lnTo>
                  <a:lnTo>
                    <a:pt x="350" y="62"/>
                  </a:lnTo>
                  <a:lnTo>
                    <a:pt x="372" y="42"/>
                  </a:lnTo>
                  <a:lnTo>
                    <a:pt x="384" y="34"/>
                  </a:lnTo>
                  <a:lnTo>
                    <a:pt x="398" y="18"/>
                  </a:lnTo>
                  <a:lnTo>
                    <a:pt x="412" y="8"/>
                  </a:lnTo>
                  <a:lnTo>
                    <a:pt x="426" y="0"/>
                  </a:lnTo>
                  <a:lnTo>
                    <a:pt x="446" y="0"/>
                  </a:lnTo>
                  <a:lnTo>
                    <a:pt x="460" y="8"/>
                  </a:lnTo>
                  <a:lnTo>
                    <a:pt x="460" y="26"/>
                  </a:lnTo>
                  <a:lnTo>
                    <a:pt x="488" y="34"/>
                  </a:lnTo>
                  <a:lnTo>
                    <a:pt x="498" y="34"/>
                  </a:lnTo>
                  <a:lnTo>
                    <a:pt x="512" y="26"/>
                  </a:lnTo>
                  <a:lnTo>
                    <a:pt x="526" y="26"/>
                  </a:lnTo>
                  <a:lnTo>
                    <a:pt x="538" y="42"/>
                  </a:lnTo>
                  <a:lnTo>
                    <a:pt x="560" y="62"/>
                  </a:lnTo>
                  <a:lnTo>
                    <a:pt x="574" y="62"/>
                  </a:lnTo>
                  <a:lnTo>
                    <a:pt x="588" y="70"/>
                  </a:lnTo>
                  <a:lnTo>
                    <a:pt x="608" y="78"/>
                  </a:lnTo>
                  <a:lnTo>
                    <a:pt x="614" y="94"/>
                  </a:lnTo>
                  <a:lnTo>
                    <a:pt x="634" y="104"/>
                  </a:lnTo>
                  <a:lnTo>
                    <a:pt x="650" y="112"/>
                  </a:lnTo>
                  <a:lnTo>
                    <a:pt x="668" y="104"/>
                  </a:lnTo>
                  <a:lnTo>
                    <a:pt x="676" y="122"/>
                  </a:lnTo>
                  <a:lnTo>
                    <a:pt x="696" y="112"/>
                  </a:lnTo>
                  <a:lnTo>
                    <a:pt x="710" y="122"/>
                  </a:lnTo>
                  <a:lnTo>
                    <a:pt x="716" y="138"/>
                  </a:lnTo>
                  <a:lnTo>
                    <a:pt x="702" y="154"/>
                  </a:lnTo>
                  <a:lnTo>
                    <a:pt x="688" y="174"/>
                  </a:lnTo>
                  <a:lnTo>
                    <a:pt x="676" y="174"/>
                  </a:lnTo>
                  <a:lnTo>
                    <a:pt x="668" y="190"/>
                  </a:lnTo>
                  <a:lnTo>
                    <a:pt x="668" y="208"/>
                  </a:lnTo>
                  <a:lnTo>
                    <a:pt x="682" y="226"/>
                  </a:lnTo>
                  <a:lnTo>
                    <a:pt x="688" y="242"/>
                  </a:lnTo>
                  <a:lnTo>
                    <a:pt x="696" y="250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72"/>
            <p:cNvSpPr>
              <a:spLocks/>
            </p:cNvSpPr>
            <p:nvPr/>
          </p:nvSpPr>
          <p:spPr bwMode="auto">
            <a:xfrm>
              <a:off x="2067915" y="3912099"/>
              <a:ext cx="681638" cy="699576"/>
            </a:xfrm>
            <a:custGeom>
              <a:avLst/>
              <a:gdLst>
                <a:gd name="T0" fmla="*/ 310 w 456"/>
                <a:gd name="T1" fmla="*/ 60 h 468"/>
                <a:gd name="T2" fmla="*/ 338 w 456"/>
                <a:gd name="T3" fmla="*/ 86 h 468"/>
                <a:gd name="T4" fmla="*/ 366 w 456"/>
                <a:gd name="T5" fmla="*/ 94 h 468"/>
                <a:gd name="T6" fmla="*/ 394 w 456"/>
                <a:gd name="T7" fmla="*/ 120 h 468"/>
                <a:gd name="T8" fmla="*/ 420 w 456"/>
                <a:gd name="T9" fmla="*/ 120 h 468"/>
                <a:gd name="T10" fmla="*/ 446 w 456"/>
                <a:gd name="T11" fmla="*/ 130 h 468"/>
                <a:gd name="T12" fmla="*/ 446 w 456"/>
                <a:gd name="T13" fmla="*/ 164 h 468"/>
                <a:gd name="T14" fmla="*/ 446 w 456"/>
                <a:gd name="T15" fmla="*/ 198 h 468"/>
                <a:gd name="T16" fmla="*/ 446 w 456"/>
                <a:gd name="T17" fmla="*/ 208 h 468"/>
                <a:gd name="T18" fmla="*/ 418 w 456"/>
                <a:gd name="T19" fmla="*/ 224 h 468"/>
                <a:gd name="T20" fmla="*/ 398 w 456"/>
                <a:gd name="T21" fmla="*/ 260 h 468"/>
                <a:gd name="T22" fmla="*/ 378 w 456"/>
                <a:gd name="T23" fmla="*/ 286 h 468"/>
                <a:gd name="T24" fmla="*/ 378 w 456"/>
                <a:gd name="T25" fmla="*/ 320 h 468"/>
                <a:gd name="T26" fmla="*/ 350 w 456"/>
                <a:gd name="T27" fmla="*/ 338 h 468"/>
                <a:gd name="T28" fmla="*/ 322 w 456"/>
                <a:gd name="T29" fmla="*/ 364 h 468"/>
                <a:gd name="T30" fmla="*/ 304 w 456"/>
                <a:gd name="T31" fmla="*/ 374 h 468"/>
                <a:gd name="T32" fmla="*/ 282 w 456"/>
                <a:gd name="T33" fmla="*/ 398 h 468"/>
                <a:gd name="T34" fmla="*/ 268 w 456"/>
                <a:gd name="T35" fmla="*/ 414 h 468"/>
                <a:gd name="T36" fmla="*/ 264 w 456"/>
                <a:gd name="T37" fmla="*/ 450 h 468"/>
                <a:gd name="T38" fmla="*/ 236 w 456"/>
                <a:gd name="T39" fmla="*/ 468 h 468"/>
                <a:gd name="T40" fmla="*/ 222 w 456"/>
                <a:gd name="T41" fmla="*/ 440 h 468"/>
                <a:gd name="T42" fmla="*/ 194 w 456"/>
                <a:gd name="T43" fmla="*/ 450 h 468"/>
                <a:gd name="T44" fmla="*/ 174 w 456"/>
                <a:gd name="T45" fmla="*/ 422 h 468"/>
                <a:gd name="T46" fmla="*/ 174 w 456"/>
                <a:gd name="T47" fmla="*/ 388 h 468"/>
                <a:gd name="T48" fmla="*/ 154 w 456"/>
                <a:gd name="T49" fmla="*/ 354 h 468"/>
                <a:gd name="T50" fmla="*/ 134 w 456"/>
                <a:gd name="T51" fmla="*/ 338 h 468"/>
                <a:gd name="T52" fmla="*/ 108 w 456"/>
                <a:gd name="T53" fmla="*/ 338 h 468"/>
                <a:gd name="T54" fmla="*/ 80 w 456"/>
                <a:gd name="T55" fmla="*/ 338 h 468"/>
                <a:gd name="T56" fmla="*/ 52 w 456"/>
                <a:gd name="T57" fmla="*/ 330 h 468"/>
                <a:gd name="T58" fmla="*/ 26 w 456"/>
                <a:gd name="T59" fmla="*/ 338 h 468"/>
                <a:gd name="T60" fmla="*/ 12 w 456"/>
                <a:gd name="T61" fmla="*/ 302 h 468"/>
                <a:gd name="T62" fmla="*/ 12 w 456"/>
                <a:gd name="T63" fmla="*/ 266 h 468"/>
                <a:gd name="T64" fmla="*/ 12 w 456"/>
                <a:gd name="T65" fmla="*/ 234 h 468"/>
                <a:gd name="T66" fmla="*/ 0 w 456"/>
                <a:gd name="T67" fmla="*/ 198 h 468"/>
                <a:gd name="T68" fmla="*/ 0 w 456"/>
                <a:gd name="T69" fmla="*/ 164 h 468"/>
                <a:gd name="T70" fmla="*/ 20 w 456"/>
                <a:gd name="T71" fmla="*/ 130 h 468"/>
                <a:gd name="T72" fmla="*/ 26 w 456"/>
                <a:gd name="T73" fmla="*/ 96 h 468"/>
                <a:gd name="T74" fmla="*/ 20 w 456"/>
                <a:gd name="T75" fmla="*/ 44 h 468"/>
                <a:gd name="T76" fmla="*/ 40 w 456"/>
                <a:gd name="T77" fmla="*/ 44 h 468"/>
                <a:gd name="T78" fmla="*/ 66 w 456"/>
                <a:gd name="T79" fmla="*/ 28 h 468"/>
                <a:gd name="T80" fmla="*/ 94 w 456"/>
                <a:gd name="T81" fmla="*/ 0 h 468"/>
                <a:gd name="T82" fmla="*/ 128 w 456"/>
                <a:gd name="T83" fmla="*/ 0 h 468"/>
                <a:gd name="T84" fmla="*/ 154 w 456"/>
                <a:gd name="T85" fmla="*/ 10 h 468"/>
                <a:gd name="T86" fmla="*/ 190 w 456"/>
                <a:gd name="T87" fmla="*/ 18 h 468"/>
                <a:gd name="T88" fmla="*/ 222 w 456"/>
                <a:gd name="T89" fmla="*/ 18 h 468"/>
                <a:gd name="T90" fmla="*/ 256 w 456"/>
                <a:gd name="T91" fmla="*/ 10 h 468"/>
                <a:gd name="T92" fmla="*/ 282 w 456"/>
                <a:gd name="T93" fmla="*/ 0 h 468"/>
                <a:gd name="T94" fmla="*/ 282 w 456"/>
                <a:gd name="T95" fmla="*/ 34 h 468"/>
                <a:gd name="T96" fmla="*/ 296 w 456"/>
                <a:gd name="T97" fmla="*/ 5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6" h="468">
                  <a:moveTo>
                    <a:pt x="310" y="50"/>
                  </a:moveTo>
                  <a:lnTo>
                    <a:pt x="310" y="60"/>
                  </a:lnTo>
                  <a:lnTo>
                    <a:pt x="324" y="76"/>
                  </a:lnTo>
                  <a:lnTo>
                    <a:pt x="338" y="86"/>
                  </a:lnTo>
                  <a:lnTo>
                    <a:pt x="350" y="94"/>
                  </a:lnTo>
                  <a:lnTo>
                    <a:pt x="366" y="94"/>
                  </a:lnTo>
                  <a:lnTo>
                    <a:pt x="378" y="104"/>
                  </a:lnTo>
                  <a:lnTo>
                    <a:pt x="394" y="120"/>
                  </a:lnTo>
                  <a:lnTo>
                    <a:pt x="408" y="120"/>
                  </a:lnTo>
                  <a:lnTo>
                    <a:pt x="420" y="120"/>
                  </a:lnTo>
                  <a:lnTo>
                    <a:pt x="432" y="120"/>
                  </a:lnTo>
                  <a:lnTo>
                    <a:pt x="446" y="130"/>
                  </a:lnTo>
                  <a:lnTo>
                    <a:pt x="456" y="146"/>
                  </a:lnTo>
                  <a:lnTo>
                    <a:pt x="446" y="164"/>
                  </a:lnTo>
                  <a:lnTo>
                    <a:pt x="456" y="180"/>
                  </a:lnTo>
                  <a:lnTo>
                    <a:pt x="446" y="198"/>
                  </a:lnTo>
                  <a:lnTo>
                    <a:pt x="446" y="198"/>
                  </a:lnTo>
                  <a:lnTo>
                    <a:pt x="446" y="208"/>
                  </a:lnTo>
                  <a:lnTo>
                    <a:pt x="430" y="216"/>
                  </a:lnTo>
                  <a:lnTo>
                    <a:pt x="418" y="224"/>
                  </a:lnTo>
                  <a:lnTo>
                    <a:pt x="406" y="242"/>
                  </a:lnTo>
                  <a:lnTo>
                    <a:pt x="398" y="260"/>
                  </a:lnTo>
                  <a:lnTo>
                    <a:pt x="392" y="276"/>
                  </a:lnTo>
                  <a:lnTo>
                    <a:pt x="378" y="286"/>
                  </a:lnTo>
                  <a:lnTo>
                    <a:pt x="378" y="302"/>
                  </a:lnTo>
                  <a:lnTo>
                    <a:pt x="378" y="320"/>
                  </a:lnTo>
                  <a:lnTo>
                    <a:pt x="364" y="330"/>
                  </a:lnTo>
                  <a:lnTo>
                    <a:pt x="350" y="338"/>
                  </a:lnTo>
                  <a:lnTo>
                    <a:pt x="338" y="344"/>
                  </a:lnTo>
                  <a:lnTo>
                    <a:pt x="322" y="364"/>
                  </a:lnTo>
                  <a:lnTo>
                    <a:pt x="318" y="364"/>
                  </a:lnTo>
                  <a:lnTo>
                    <a:pt x="304" y="374"/>
                  </a:lnTo>
                  <a:lnTo>
                    <a:pt x="290" y="380"/>
                  </a:lnTo>
                  <a:lnTo>
                    <a:pt x="282" y="398"/>
                  </a:lnTo>
                  <a:lnTo>
                    <a:pt x="282" y="414"/>
                  </a:lnTo>
                  <a:lnTo>
                    <a:pt x="268" y="414"/>
                  </a:lnTo>
                  <a:lnTo>
                    <a:pt x="264" y="430"/>
                  </a:lnTo>
                  <a:lnTo>
                    <a:pt x="264" y="450"/>
                  </a:lnTo>
                  <a:lnTo>
                    <a:pt x="250" y="458"/>
                  </a:lnTo>
                  <a:lnTo>
                    <a:pt x="236" y="468"/>
                  </a:lnTo>
                  <a:lnTo>
                    <a:pt x="236" y="450"/>
                  </a:lnTo>
                  <a:lnTo>
                    <a:pt x="222" y="440"/>
                  </a:lnTo>
                  <a:lnTo>
                    <a:pt x="208" y="450"/>
                  </a:lnTo>
                  <a:lnTo>
                    <a:pt x="194" y="450"/>
                  </a:lnTo>
                  <a:lnTo>
                    <a:pt x="184" y="440"/>
                  </a:lnTo>
                  <a:lnTo>
                    <a:pt x="174" y="422"/>
                  </a:lnTo>
                  <a:lnTo>
                    <a:pt x="174" y="406"/>
                  </a:lnTo>
                  <a:lnTo>
                    <a:pt x="174" y="388"/>
                  </a:lnTo>
                  <a:lnTo>
                    <a:pt x="160" y="374"/>
                  </a:lnTo>
                  <a:lnTo>
                    <a:pt x="154" y="354"/>
                  </a:lnTo>
                  <a:lnTo>
                    <a:pt x="148" y="338"/>
                  </a:lnTo>
                  <a:lnTo>
                    <a:pt x="134" y="338"/>
                  </a:lnTo>
                  <a:lnTo>
                    <a:pt x="120" y="330"/>
                  </a:lnTo>
                  <a:lnTo>
                    <a:pt x="108" y="338"/>
                  </a:lnTo>
                  <a:lnTo>
                    <a:pt x="94" y="344"/>
                  </a:lnTo>
                  <a:lnTo>
                    <a:pt x="80" y="338"/>
                  </a:lnTo>
                  <a:lnTo>
                    <a:pt x="66" y="338"/>
                  </a:lnTo>
                  <a:lnTo>
                    <a:pt x="52" y="330"/>
                  </a:lnTo>
                  <a:lnTo>
                    <a:pt x="40" y="338"/>
                  </a:lnTo>
                  <a:lnTo>
                    <a:pt x="26" y="338"/>
                  </a:lnTo>
                  <a:lnTo>
                    <a:pt x="20" y="320"/>
                  </a:lnTo>
                  <a:lnTo>
                    <a:pt x="12" y="302"/>
                  </a:lnTo>
                  <a:lnTo>
                    <a:pt x="12" y="286"/>
                  </a:lnTo>
                  <a:lnTo>
                    <a:pt x="12" y="266"/>
                  </a:lnTo>
                  <a:lnTo>
                    <a:pt x="20" y="250"/>
                  </a:lnTo>
                  <a:lnTo>
                    <a:pt x="12" y="234"/>
                  </a:lnTo>
                  <a:lnTo>
                    <a:pt x="12" y="216"/>
                  </a:lnTo>
                  <a:lnTo>
                    <a:pt x="0" y="198"/>
                  </a:lnTo>
                  <a:lnTo>
                    <a:pt x="0" y="180"/>
                  </a:lnTo>
                  <a:lnTo>
                    <a:pt x="0" y="164"/>
                  </a:lnTo>
                  <a:lnTo>
                    <a:pt x="6" y="148"/>
                  </a:lnTo>
                  <a:lnTo>
                    <a:pt x="20" y="130"/>
                  </a:lnTo>
                  <a:lnTo>
                    <a:pt x="26" y="114"/>
                  </a:lnTo>
                  <a:lnTo>
                    <a:pt x="26" y="96"/>
                  </a:lnTo>
                  <a:lnTo>
                    <a:pt x="26" y="78"/>
                  </a:lnTo>
                  <a:lnTo>
                    <a:pt x="20" y="44"/>
                  </a:lnTo>
                  <a:lnTo>
                    <a:pt x="26" y="44"/>
                  </a:lnTo>
                  <a:lnTo>
                    <a:pt x="40" y="44"/>
                  </a:lnTo>
                  <a:lnTo>
                    <a:pt x="52" y="34"/>
                  </a:lnTo>
                  <a:lnTo>
                    <a:pt x="66" y="28"/>
                  </a:lnTo>
                  <a:lnTo>
                    <a:pt x="80" y="10"/>
                  </a:lnTo>
                  <a:lnTo>
                    <a:pt x="94" y="0"/>
                  </a:lnTo>
                  <a:lnTo>
                    <a:pt x="108" y="0"/>
                  </a:lnTo>
                  <a:lnTo>
                    <a:pt x="128" y="0"/>
                  </a:lnTo>
                  <a:lnTo>
                    <a:pt x="142" y="0"/>
                  </a:lnTo>
                  <a:lnTo>
                    <a:pt x="154" y="10"/>
                  </a:lnTo>
                  <a:lnTo>
                    <a:pt x="174" y="18"/>
                  </a:lnTo>
                  <a:lnTo>
                    <a:pt x="190" y="18"/>
                  </a:lnTo>
                  <a:lnTo>
                    <a:pt x="208" y="18"/>
                  </a:lnTo>
                  <a:lnTo>
                    <a:pt x="222" y="18"/>
                  </a:lnTo>
                  <a:lnTo>
                    <a:pt x="236" y="18"/>
                  </a:lnTo>
                  <a:lnTo>
                    <a:pt x="256" y="10"/>
                  </a:lnTo>
                  <a:lnTo>
                    <a:pt x="268" y="10"/>
                  </a:lnTo>
                  <a:lnTo>
                    <a:pt x="282" y="0"/>
                  </a:lnTo>
                  <a:lnTo>
                    <a:pt x="282" y="18"/>
                  </a:lnTo>
                  <a:lnTo>
                    <a:pt x="282" y="34"/>
                  </a:lnTo>
                  <a:lnTo>
                    <a:pt x="282" y="50"/>
                  </a:lnTo>
                  <a:lnTo>
                    <a:pt x="296" y="50"/>
                  </a:lnTo>
                  <a:lnTo>
                    <a:pt x="310" y="5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73"/>
            <p:cNvSpPr>
              <a:spLocks/>
            </p:cNvSpPr>
            <p:nvPr/>
          </p:nvSpPr>
          <p:spPr bwMode="auto">
            <a:xfrm>
              <a:off x="2067915" y="3912099"/>
              <a:ext cx="681638" cy="699576"/>
            </a:xfrm>
            <a:custGeom>
              <a:avLst/>
              <a:gdLst>
                <a:gd name="T0" fmla="*/ 310 w 456"/>
                <a:gd name="T1" fmla="*/ 60 h 468"/>
                <a:gd name="T2" fmla="*/ 338 w 456"/>
                <a:gd name="T3" fmla="*/ 86 h 468"/>
                <a:gd name="T4" fmla="*/ 366 w 456"/>
                <a:gd name="T5" fmla="*/ 94 h 468"/>
                <a:gd name="T6" fmla="*/ 394 w 456"/>
                <a:gd name="T7" fmla="*/ 120 h 468"/>
                <a:gd name="T8" fmla="*/ 420 w 456"/>
                <a:gd name="T9" fmla="*/ 120 h 468"/>
                <a:gd name="T10" fmla="*/ 446 w 456"/>
                <a:gd name="T11" fmla="*/ 130 h 468"/>
                <a:gd name="T12" fmla="*/ 446 w 456"/>
                <a:gd name="T13" fmla="*/ 164 h 468"/>
                <a:gd name="T14" fmla="*/ 446 w 456"/>
                <a:gd name="T15" fmla="*/ 198 h 468"/>
                <a:gd name="T16" fmla="*/ 446 w 456"/>
                <a:gd name="T17" fmla="*/ 208 h 468"/>
                <a:gd name="T18" fmla="*/ 418 w 456"/>
                <a:gd name="T19" fmla="*/ 224 h 468"/>
                <a:gd name="T20" fmla="*/ 398 w 456"/>
                <a:gd name="T21" fmla="*/ 260 h 468"/>
                <a:gd name="T22" fmla="*/ 378 w 456"/>
                <a:gd name="T23" fmla="*/ 286 h 468"/>
                <a:gd name="T24" fmla="*/ 378 w 456"/>
                <a:gd name="T25" fmla="*/ 320 h 468"/>
                <a:gd name="T26" fmla="*/ 350 w 456"/>
                <a:gd name="T27" fmla="*/ 338 h 468"/>
                <a:gd name="T28" fmla="*/ 322 w 456"/>
                <a:gd name="T29" fmla="*/ 364 h 468"/>
                <a:gd name="T30" fmla="*/ 304 w 456"/>
                <a:gd name="T31" fmla="*/ 374 h 468"/>
                <a:gd name="T32" fmla="*/ 282 w 456"/>
                <a:gd name="T33" fmla="*/ 398 h 468"/>
                <a:gd name="T34" fmla="*/ 268 w 456"/>
                <a:gd name="T35" fmla="*/ 414 h 468"/>
                <a:gd name="T36" fmla="*/ 264 w 456"/>
                <a:gd name="T37" fmla="*/ 450 h 468"/>
                <a:gd name="T38" fmla="*/ 236 w 456"/>
                <a:gd name="T39" fmla="*/ 468 h 468"/>
                <a:gd name="T40" fmla="*/ 222 w 456"/>
                <a:gd name="T41" fmla="*/ 440 h 468"/>
                <a:gd name="T42" fmla="*/ 194 w 456"/>
                <a:gd name="T43" fmla="*/ 450 h 468"/>
                <a:gd name="T44" fmla="*/ 174 w 456"/>
                <a:gd name="T45" fmla="*/ 422 h 468"/>
                <a:gd name="T46" fmla="*/ 174 w 456"/>
                <a:gd name="T47" fmla="*/ 388 h 468"/>
                <a:gd name="T48" fmla="*/ 154 w 456"/>
                <a:gd name="T49" fmla="*/ 354 h 468"/>
                <a:gd name="T50" fmla="*/ 134 w 456"/>
                <a:gd name="T51" fmla="*/ 338 h 468"/>
                <a:gd name="T52" fmla="*/ 108 w 456"/>
                <a:gd name="T53" fmla="*/ 338 h 468"/>
                <a:gd name="T54" fmla="*/ 80 w 456"/>
                <a:gd name="T55" fmla="*/ 338 h 468"/>
                <a:gd name="T56" fmla="*/ 52 w 456"/>
                <a:gd name="T57" fmla="*/ 330 h 468"/>
                <a:gd name="T58" fmla="*/ 26 w 456"/>
                <a:gd name="T59" fmla="*/ 338 h 468"/>
                <a:gd name="T60" fmla="*/ 12 w 456"/>
                <a:gd name="T61" fmla="*/ 302 h 468"/>
                <a:gd name="T62" fmla="*/ 12 w 456"/>
                <a:gd name="T63" fmla="*/ 266 h 468"/>
                <a:gd name="T64" fmla="*/ 12 w 456"/>
                <a:gd name="T65" fmla="*/ 234 h 468"/>
                <a:gd name="T66" fmla="*/ 0 w 456"/>
                <a:gd name="T67" fmla="*/ 198 h 468"/>
                <a:gd name="T68" fmla="*/ 0 w 456"/>
                <a:gd name="T69" fmla="*/ 164 h 468"/>
                <a:gd name="T70" fmla="*/ 20 w 456"/>
                <a:gd name="T71" fmla="*/ 130 h 468"/>
                <a:gd name="T72" fmla="*/ 26 w 456"/>
                <a:gd name="T73" fmla="*/ 96 h 468"/>
                <a:gd name="T74" fmla="*/ 20 w 456"/>
                <a:gd name="T75" fmla="*/ 44 h 468"/>
                <a:gd name="T76" fmla="*/ 40 w 456"/>
                <a:gd name="T77" fmla="*/ 44 h 468"/>
                <a:gd name="T78" fmla="*/ 66 w 456"/>
                <a:gd name="T79" fmla="*/ 28 h 468"/>
                <a:gd name="T80" fmla="*/ 94 w 456"/>
                <a:gd name="T81" fmla="*/ 0 h 468"/>
                <a:gd name="T82" fmla="*/ 128 w 456"/>
                <a:gd name="T83" fmla="*/ 0 h 468"/>
                <a:gd name="T84" fmla="*/ 154 w 456"/>
                <a:gd name="T85" fmla="*/ 10 h 468"/>
                <a:gd name="T86" fmla="*/ 190 w 456"/>
                <a:gd name="T87" fmla="*/ 18 h 468"/>
                <a:gd name="T88" fmla="*/ 222 w 456"/>
                <a:gd name="T89" fmla="*/ 18 h 468"/>
                <a:gd name="T90" fmla="*/ 256 w 456"/>
                <a:gd name="T91" fmla="*/ 10 h 468"/>
                <a:gd name="T92" fmla="*/ 282 w 456"/>
                <a:gd name="T93" fmla="*/ 0 h 468"/>
                <a:gd name="T94" fmla="*/ 282 w 456"/>
                <a:gd name="T95" fmla="*/ 34 h 468"/>
                <a:gd name="T96" fmla="*/ 296 w 456"/>
                <a:gd name="T97" fmla="*/ 5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6" h="468">
                  <a:moveTo>
                    <a:pt x="310" y="50"/>
                  </a:moveTo>
                  <a:lnTo>
                    <a:pt x="310" y="60"/>
                  </a:lnTo>
                  <a:lnTo>
                    <a:pt x="324" y="76"/>
                  </a:lnTo>
                  <a:lnTo>
                    <a:pt x="338" y="86"/>
                  </a:lnTo>
                  <a:lnTo>
                    <a:pt x="350" y="94"/>
                  </a:lnTo>
                  <a:lnTo>
                    <a:pt x="366" y="94"/>
                  </a:lnTo>
                  <a:lnTo>
                    <a:pt x="378" y="104"/>
                  </a:lnTo>
                  <a:lnTo>
                    <a:pt x="394" y="120"/>
                  </a:lnTo>
                  <a:lnTo>
                    <a:pt x="408" y="120"/>
                  </a:lnTo>
                  <a:lnTo>
                    <a:pt x="420" y="120"/>
                  </a:lnTo>
                  <a:lnTo>
                    <a:pt x="432" y="120"/>
                  </a:lnTo>
                  <a:lnTo>
                    <a:pt x="446" y="130"/>
                  </a:lnTo>
                  <a:lnTo>
                    <a:pt x="456" y="146"/>
                  </a:lnTo>
                  <a:lnTo>
                    <a:pt x="446" y="164"/>
                  </a:lnTo>
                  <a:lnTo>
                    <a:pt x="456" y="180"/>
                  </a:lnTo>
                  <a:lnTo>
                    <a:pt x="446" y="198"/>
                  </a:lnTo>
                  <a:lnTo>
                    <a:pt x="446" y="198"/>
                  </a:lnTo>
                  <a:lnTo>
                    <a:pt x="446" y="208"/>
                  </a:lnTo>
                  <a:lnTo>
                    <a:pt x="430" y="216"/>
                  </a:lnTo>
                  <a:lnTo>
                    <a:pt x="418" y="224"/>
                  </a:lnTo>
                  <a:lnTo>
                    <a:pt x="406" y="242"/>
                  </a:lnTo>
                  <a:lnTo>
                    <a:pt x="398" y="260"/>
                  </a:lnTo>
                  <a:lnTo>
                    <a:pt x="392" y="276"/>
                  </a:lnTo>
                  <a:lnTo>
                    <a:pt x="378" y="286"/>
                  </a:lnTo>
                  <a:lnTo>
                    <a:pt x="378" y="302"/>
                  </a:lnTo>
                  <a:lnTo>
                    <a:pt x="378" y="320"/>
                  </a:lnTo>
                  <a:lnTo>
                    <a:pt x="364" y="330"/>
                  </a:lnTo>
                  <a:lnTo>
                    <a:pt x="350" y="338"/>
                  </a:lnTo>
                  <a:lnTo>
                    <a:pt x="338" y="344"/>
                  </a:lnTo>
                  <a:lnTo>
                    <a:pt x="322" y="364"/>
                  </a:lnTo>
                  <a:lnTo>
                    <a:pt x="318" y="364"/>
                  </a:lnTo>
                  <a:lnTo>
                    <a:pt x="304" y="374"/>
                  </a:lnTo>
                  <a:lnTo>
                    <a:pt x="290" y="380"/>
                  </a:lnTo>
                  <a:lnTo>
                    <a:pt x="282" y="398"/>
                  </a:lnTo>
                  <a:lnTo>
                    <a:pt x="282" y="414"/>
                  </a:lnTo>
                  <a:lnTo>
                    <a:pt x="268" y="414"/>
                  </a:lnTo>
                  <a:lnTo>
                    <a:pt x="264" y="430"/>
                  </a:lnTo>
                  <a:lnTo>
                    <a:pt x="264" y="450"/>
                  </a:lnTo>
                  <a:lnTo>
                    <a:pt x="250" y="458"/>
                  </a:lnTo>
                  <a:lnTo>
                    <a:pt x="236" y="468"/>
                  </a:lnTo>
                  <a:lnTo>
                    <a:pt x="236" y="450"/>
                  </a:lnTo>
                  <a:lnTo>
                    <a:pt x="222" y="440"/>
                  </a:lnTo>
                  <a:lnTo>
                    <a:pt x="208" y="450"/>
                  </a:lnTo>
                  <a:lnTo>
                    <a:pt x="194" y="450"/>
                  </a:lnTo>
                  <a:lnTo>
                    <a:pt x="184" y="440"/>
                  </a:lnTo>
                  <a:lnTo>
                    <a:pt x="174" y="422"/>
                  </a:lnTo>
                  <a:lnTo>
                    <a:pt x="174" y="406"/>
                  </a:lnTo>
                  <a:lnTo>
                    <a:pt x="174" y="388"/>
                  </a:lnTo>
                  <a:lnTo>
                    <a:pt x="160" y="374"/>
                  </a:lnTo>
                  <a:lnTo>
                    <a:pt x="154" y="354"/>
                  </a:lnTo>
                  <a:lnTo>
                    <a:pt x="148" y="338"/>
                  </a:lnTo>
                  <a:lnTo>
                    <a:pt x="134" y="338"/>
                  </a:lnTo>
                  <a:lnTo>
                    <a:pt x="120" y="330"/>
                  </a:lnTo>
                  <a:lnTo>
                    <a:pt x="108" y="338"/>
                  </a:lnTo>
                  <a:lnTo>
                    <a:pt x="94" y="344"/>
                  </a:lnTo>
                  <a:lnTo>
                    <a:pt x="80" y="338"/>
                  </a:lnTo>
                  <a:lnTo>
                    <a:pt x="66" y="338"/>
                  </a:lnTo>
                  <a:lnTo>
                    <a:pt x="52" y="330"/>
                  </a:lnTo>
                  <a:lnTo>
                    <a:pt x="40" y="338"/>
                  </a:lnTo>
                  <a:lnTo>
                    <a:pt x="26" y="338"/>
                  </a:lnTo>
                  <a:lnTo>
                    <a:pt x="20" y="320"/>
                  </a:lnTo>
                  <a:lnTo>
                    <a:pt x="12" y="302"/>
                  </a:lnTo>
                  <a:lnTo>
                    <a:pt x="12" y="286"/>
                  </a:lnTo>
                  <a:lnTo>
                    <a:pt x="12" y="266"/>
                  </a:lnTo>
                  <a:lnTo>
                    <a:pt x="20" y="250"/>
                  </a:lnTo>
                  <a:lnTo>
                    <a:pt x="12" y="234"/>
                  </a:lnTo>
                  <a:lnTo>
                    <a:pt x="12" y="216"/>
                  </a:lnTo>
                  <a:lnTo>
                    <a:pt x="0" y="198"/>
                  </a:lnTo>
                  <a:lnTo>
                    <a:pt x="0" y="180"/>
                  </a:lnTo>
                  <a:lnTo>
                    <a:pt x="0" y="164"/>
                  </a:lnTo>
                  <a:lnTo>
                    <a:pt x="6" y="148"/>
                  </a:lnTo>
                  <a:lnTo>
                    <a:pt x="20" y="130"/>
                  </a:lnTo>
                  <a:lnTo>
                    <a:pt x="26" y="114"/>
                  </a:lnTo>
                  <a:lnTo>
                    <a:pt x="26" y="96"/>
                  </a:lnTo>
                  <a:lnTo>
                    <a:pt x="26" y="78"/>
                  </a:lnTo>
                  <a:lnTo>
                    <a:pt x="20" y="44"/>
                  </a:lnTo>
                  <a:lnTo>
                    <a:pt x="26" y="44"/>
                  </a:lnTo>
                  <a:lnTo>
                    <a:pt x="40" y="44"/>
                  </a:lnTo>
                  <a:lnTo>
                    <a:pt x="52" y="34"/>
                  </a:lnTo>
                  <a:lnTo>
                    <a:pt x="66" y="28"/>
                  </a:lnTo>
                  <a:lnTo>
                    <a:pt x="80" y="10"/>
                  </a:lnTo>
                  <a:lnTo>
                    <a:pt x="94" y="0"/>
                  </a:lnTo>
                  <a:lnTo>
                    <a:pt x="108" y="0"/>
                  </a:lnTo>
                  <a:lnTo>
                    <a:pt x="128" y="0"/>
                  </a:lnTo>
                  <a:lnTo>
                    <a:pt x="142" y="0"/>
                  </a:lnTo>
                  <a:lnTo>
                    <a:pt x="154" y="10"/>
                  </a:lnTo>
                  <a:lnTo>
                    <a:pt x="174" y="18"/>
                  </a:lnTo>
                  <a:lnTo>
                    <a:pt x="190" y="18"/>
                  </a:lnTo>
                  <a:lnTo>
                    <a:pt x="208" y="18"/>
                  </a:lnTo>
                  <a:lnTo>
                    <a:pt x="222" y="18"/>
                  </a:lnTo>
                  <a:lnTo>
                    <a:pt x="236" y="18"/>
                  </a:lnTo>
                  <a:lnTo>
                    <a:pt x="256" y="10"/>
                  </a:lnTo>
                  <a:lnTo>
                    <a:pt x="268" y="10"/>
                  </a:lnTo>
                  <a:lnTo>
                    <a:pt x="282" y="0"/>
                  </a:lnTo>
                  <a:lnTo>
                    <a:pt x="282" y="18"/>
                  </a:lnTo>
                  <a:lnTo>
                    <a:pt x="282" y="34"/>
                  </a:lnTo>
                  <a:lnTo>
                    <a:pt x="282" y="50"/>
                  </a:lnTo>
                  <a:lnTo>
                    <a:pt x="296" y="50"/>
                  </a:lnTo>
                  <a:lnTo>
                    <a:pt x="310" y="50"/>
                  </a:lnTo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74"/>
            <p:cNvSpPr>
              <a:spLocks/>
            </p:cNvSpPr>
            <p:nvPr/>
          </p:nvSpPr>
          <p:spPr bwMode="auto">
            <a:xfrm>
              <a:off x="2540278" y="4172198"/>
              <a:ext cx="789265" cy="541125"/>
            </a:xfrm>
            <a:custGeom>
              <a:avLst/>
              <a:gdLst>
                <a:gd name="T0" fmla="*/ 136 w 528"/>
                <a:gd name="T1" fmla="*/ 24 h 362"/>
                <a:gd name="T2" fmla="*/ 162 w 528"/>
                <a:gd name="T3" fmla="*/ 0 h 362"/>
                <a:gd name="T4" fmla="*/ 190 w 528"/>
                <a:gd name="T5" fmla="*/ 4 h 362"/>
                <a:gd name="T6" fmla="*/ 216 w 528"/>
                <a:gd name="T7" fmla="*/ 0 h 362"/>
                <a:gd name="T8" fmla="*/ 230 w 528"/>
                <a:gd name="T9" fmla="*/ 16 h 362"/>
                <a:gd name="T10" fmla="*/ 250 w 528"/>
                <a:gd name="T11" fmla="*/ 24 h 362"/>
                <a:gd name="T12" fmla="*/ 278 w 528"/>
                <a:gd name="T13" fmla="*/ 42 h 362"/>
                <a:gd name="T14" fmla="*/ 304 w 528"/>
                <a:gd name="T15" fmla="*/ 24 h 362"/>
                <a:gd name="T16" fmla="*/ 330 w 528"/>
                <a:gd name="T17" fmla="*/ 16 h 362"/>
                <a:gd name="T18" fmla="*/ 354 w 528"/>
                <a:gd name="T19" fmla="*/ 32 h 362"/>
                <a:gd name="T20" fmla="*/ 372 w 528"/>
                <a:gd name="T21" fmla="*/ 60 h 362"/>
                <a:gd name="T22" fmla="*/ 372 w 528"/>
                <a:gd name="T23" fmla="*/ 92 h 362"/>
                <a:gd name="T24" fmla="*/ 392 w 528"/>
                <a:gd name="T25" fmla="*/ 120 h 362"/>
                <a:gd name="T26" fmla="*/ 400 w 528"/>
                <a:gd name="T27" fmla="*/ 154 h 362"/>
                <a:gd name="T28" fmla="*/ 406 w 528"/>
                <a:gd name="T29" fmla="*/ 180 h 362"/>
                <a:gd name="T30" fmla="*/ 426 w 528"/>
                <a:gd name="T31" fmla="*/ 206 h 362"/>
                <a:gd name="T32" fmla="*/ 454 w 528"/>
                <a:gd name="T33" fmla="*/ 206 h 362"/>
                <a:gd name="T34" fmla="*/ 480 w 528"/>
                <a:gd name="T35" fmla="*/ 198 h 362"/>
                <a:gd name="T36" fmla="*/ 506 w 528"/>
                <a:gd name="T37" fmla="*/ 180 h 362"/>
                <a:gd name="T38" fmla="*/ 528 w 528"/>
                <a:gd name="T39" fmla="*/ 180 h 362"/>
                <a:gd name="T40" fmla="*/ 514 w 528"/>
                <a:gd name="T41" fmla="*/ 206 h 362"/>
                <a:gd name="T42" fmla="*/ 522 w 528"/>
                <a:gd name="T43" fmla="*/ 232 h 362"/>
                <a:gd name="T44" fmla="*/ 500 w 528"/>
                <a:gd name="T45" fmla="*/ 250 h 362"/>
                <a:gd name="T46" fmla="*/ 468 w 528"/>
                <a:gd name="T47" fmla="*/ 258 h 362"/>
                <a:gd name="T48" fmla="*/ 440 w 528"/>
                <a:gd name="T49" fmla="*/ 276 h 362"/>
                <a:gd name="T50" fmla="*/ 400 w 528"/>
                <a:gd name="T51" fmla="*/ 276 h 362"/>
                <a:gd name="T52" fmla="*/ 372 w 528"/>
                <a:gd name="T53" fmla="*/ 302 h 362"/>
                <a:gd name="T54" fmla="*/ 344 w 528"/>
                <a:gd name="T55" fmla="*/ 328 h 362"/>
                <a:gd name="T56" fmla="*/ 316 w 528"/>
                <a:gd name="T57" fmla="*/ 354 h 362"/>
                <a:gd name="T58" fmla="*/ 304 w 528"/>
                <a:gd name="T59" fmla="*/ 354 h 362"/>
                <a:gd name="T60" fmla="*/ 292 w 528"/>
                <a:gd name="T61" fmla="*/ 346 h 362"/>
                <a:gd name="T62" fmla="*/ 270 w 528"/>
                <a:gd name="T63" fmla="*/ 336 h 362"/>
                <a:gd name="T64" fmla="*/ 244 w 528"/>
                <a:gd name="T65" fmla="*/ 328 h 362"/>
                <a:gd name="T66" fmla="*/ 222 w 528"/>
                <a:gd name="T67" fmla="*/ 312 h 362"/>
                <a:gd name="T68" fmla="*/ 230 w 528"/>
                <a:gd name="T69" fmla="*/ 276 h 362"/>
                <a:gd name="T70" fmla="*/ 208 w 528"/>
                <a:gd name="T71" fmla="*/ 250 h 362"/>
                <a:gd name="T72" fmla="*/ 202 w 528"/>
                <a:gd name="T73" fmla="*/ 216 h 362"/>
                <a:gd name="T74" fmla="*/ 168 w 528"/>
                <a:gd name="T75" fmla="*/ 206 h 362"/>
                <a:gd name="T76" fmla="*/ 140 w 528"/>
                <a:gd name="T77" fmla="*/ 216 h 362"/>
                <a:gd name="T78" fmla="*/ 114 w 528"/>
                <a:gd name="T79" fmla="*/ 190 h 362"/>
                <a:gd name="T80" fmla="*/ 88 w 528"/>
                <a:gd name="T81" fmla="*/ 190 h 362"/>
                <a:gd name="T82" fmla="*/ 62 w 528"/>
                <a:gd name="T83" fmla="*/ 180 h 362"/>
                <a:gd name="T84" fmla="*/ 34 w 528"/>
                <a:gd name="T85" fmla="*/ 198 h 362"/>
                <a:gd name="T86" fmla="*/ 6 w 528"/>
                <a:gd name="T87" fmla="*/ 190 h 362"/>
                <a:gd name="T88" fmla="*/ 6 w 528"/>
                <a:gd name="T89" fmla="*/ 190 h 362"/>
                <a:gd name="T90" fmla="*/ 34 w 528"/>
                <a:gd name="T91" fmla="*/ 162 h 362"/>
                <a:gd name="T92" fmla="*/ 62 w 528"/>
                <a:gd name="T93" fmla="*/ 144 h 362"/>
                <a:gd name="T94" fmla="*/ 62 w 528"/>
                <a:gd name="T95" fmla="*/ 108 h 362"/>
                <a:gd name="T96" fmla="*/ 82 w 528"/>
                <a:gd name="T97" fmla="*/ 84 h 362"/>
                <a:gd name="T98" fmla="*/ 102 w 528"/>
                <a:gd name="T99" fmla="*/ 48 h 362"/>
                <a:gd name="T100" fmla="*/ 128 w 528"/>
                <a:gd name="T101" fmla="*/ 30 h 362"/>
                <a:gd name="T102" fmla="*/ 122 w 528"/>
                <a:gd name="T103" fmla="*/ 3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28" h="362">
                  <a:moveTo>
                    <a:pt x="122" y="32"/>
                  </a:moveTo>
                  <a:lnTo>
                    <a:pt x="136" y="24"/>
                  </a:lnTo>
                  <a:lnTo>
                    <a:pt x="148" y="16"/>
                  </a:lnTo>
                  <a:lnTo>
                    <a:pt x="162" y="0"/>
                  </a:lnTo>
                  <a:lnTo>
                    <a:pt x="176" y="0"/>
                  </a:lnTo>
                  <a:lnTo>
                    <a:pt x="190" y="4"/>
                  </a:lnTo>
                  <a:lnTo>
                    <a:pt x="204" y="4"/>
                  </a:lnTo>
                  <a:lnTo>
                    <a:pt x="216" y="0"/>
                  </a:lnTo>
                  <a:lnTo>
                    <a:pt x="230" y="0"/>
                  </a:lnTo>
                  <a:lnTo>
                    <a:pt x="230" y="16"/>
                  </a:lnTo>
                  <a:lnTo>
                    <a:pt x="238" y="32"/>
                  </a:lnTo>
                  <a:lnTo>
                    <a:pt x="250" y="24"/>
                  </a:lnTo>
                  <a:lnTo>
                    <a:pt x="264" y="32"/>
                  </a:lnTo>
                  <a:lnTo>
                    <a:pt x="278" y="42"/>
                  </a:lnTo>
                  <a:lnTo>
                    <a:pt x="292" y="24"/>
                  </a:lnTo>
                  <a:lnTo>
                    <a:pt x="304" y="24"/>
                  </a:lnTo>
                  <a:lnTo>
                    <a:pt x="316" y="24"/>
                  </a:lnTo>
                  <a:lnTo>
                    <a:pt x="330" y="16"/>
                  </a:lnTo>
                  <a:lnTo>
                    <a:pt x="344" y="16"/>
                  </a:lnTo>
                  <a:lnTo>
                    <a:pt x="354" y="32"/>
                  </a:lnTo>
                  <a:lnTo>
                    <a:pt x="360" y="50"/>
                  </a:lnTo>
                  <a:lnTo>
                    <a:pt x="372" y="60"/>
                  </a:lnTo>
                  <a:lnTo>
                    <a:pt x="372" y="76"/>
                  </a:lnTo>
                  <a:lnTo>
                    <a:pt x="372" y="92"/>
                  </a:lnTo>
                  <a:lnTo>
                    <a:pt x="378" y="110"/>
                  </a:lnTo>
                  <a:lnTo>
                    <a:pt x="392" y="120"/>
                  </a:lnTo>
                  <a:lnTo>
                    <a:pt x="392" y="138"/>
                  </a:lnTo>
                  <a:lnTo>
                    <a:pt x="400" y="154"/>
                  </a:lnTo>
                  <a:lnTo>
                    <a:pt x="392" y="170"/>
                  </a:lnTo>
                  <a:lnTo>
                    <a:pt x="406" y="180"/>
                  </a:lnTo>
                  <a:lnTo>
                    <a:pt x="414" y="198"/>
                  </a:lnTo>
                  <a:lnTo>
                    <a:pt x="426" y="206"/>
                  </a:lnTo>
                  <a:lnTo>
                    <a:pt x="440" y="198"/>
                  </a:lnTo>
                  <a:lnTo>
                    <a:pt x="454" y="206"/>
                  </a:lnTo>
                  <a:lnTo>
                    <a:pt x="468" y="206"/>
                  </a:lnTo>
                  <a:lnTo>
                    <a:pt x="480" y="198"/>
                  </a:lnTo>
                  <a:lnTo>
                    <a:pt x="494" y="190"/>
                  </a:lnTo>
                  <a:lnTo>
                    <a:pt x="506" y="180"/>
                  </a:lnTo>
                  <a:lnTo>
                    <a:pt x="522" y="180"/>
                  </a:lnTo>
                  <a:lnTo>
                    <a:pt x="528" y="180"/>
                  </a:lnTo>
                  <a:lnTo>
                    <a:pt x="528" y="196"/>
                  </a:lnTo>
                  <a:lnTo>
                    <a:pt x="514" y="206"/>
                  </a:lnTo>
                  <a:lnTo>
                    <a:pt x="514" y="222"/>
                  </a:lnTo>
                  <a:lnTo>
                    <a:pt x="522" y="232"/>
                  </a:lnTo>
                  <a:lnTo>
                    <a:pt x="514" y="250"/>
                  </a:lnTo>
                  <a:lnTo>
                    <a:pt x="500" y="250"/>
                  </a:lnTo>
                  <a:lnTo>
                    <a:pt x="480" y="250"/>
                  </a:lnTo>
                  <a:lnTo>
                    <a:pt x="468" y="258"/>
                  </a:lnTo>
                  <a:lnTo>
                    <a:pt x="462" y="276"/>
                  </a:lnTo>
                  <a:lnTo>
                    <a:pt x="440" y="276"/>
                  </a:lnTo>
                  <a:lnTo>
                    <a:pt x="420" y="276"/>
                  </a:lnTo>
                  <a:lnTo>
                    <a:pt x="400" y="276"/>
                  </a:lnTo>
                  <a:lnTo>
                    <a:pt x="386" y="292"/>
                  </a:lnTo>
                  <a:lnTo>
                    <a:pt x="372" y="302"/>
                  </a:lnTo>
                  <a:lnTo>
                    <a:pt x="352" y="312"/>
                  </a:lnTo>
                  <a:lnTo>
                    <a:pt x="344" y="328"/>
                  </a:lnTo>
                  <a:lnTo>
                    <a:pt x="330" y="336"/>
                  </a:lnTo>
                  <a:lnTo>
                    <a:pt x="316" y="354"/>
                  </a:lnTo>
                  <a:lnTo>
                    <a:pt x="304" y="362"/>
                  </a:lnTo>
                  <a:lnTo>
                    <a:pt x="304" y="354"/>
                  </a:lnTo>
                  <a:lnTo>
                    <a:pt x="298" y="348"/>
                  </a:lnTo>
                  <a:lnTo>
                    <a:pt x="292" y="346"/>
                  </a:lnTo>
                  <a:lnTo>
                    <a:pt x="278" y="354"/>
                  </a:lnTo>
                  <a:lnTo>
                    <a:pt x="270" y="336"/>
                  </a:lnTo>
                  <a:lnTo>
                    <a:pt x="258" y="328"/>
                  </a:lnTo>
                  <a:lnTo>
                    <a:pt x="244" y="328"/>
                  </a:lnTo>
                  <a:lnTo>
                    <a:pt x="230" y="328"/>
                  </a:lnTo>
                  <a:lnTo>
                    <a:pt x="222" y="312"/>
                  </a:lnTo>
                  <a:lnTo>
                    <a:pt x="230" y="292"/>
                  </a:lnTo>
                  <a:lnTo>
                    <a:pt x="230" y="276"/>
                  </a:lnTo>
                  <a:lnTo>
                    <a:pt x="216" y="266"/>
                  </a:lnTo>
                  <a:lnTo>
                    <a:pt x="208" y="250"/>
                  </a:lnTo>
                  <a:lnTo>
                    <a:pt x="216" y="232"/>
                  </a:lnTo>
                  <a:lnTo>
                    <a:pt x="202" y="216"/>
                  </a:lnTo>
                  <a:lnTo>
                    <a:pt x="182" y="206"/>
                  </a:lnTo>
                  <a:lnTo>
                    <a:pt x="168" y="206"/>
                  </a:lnTo>
                  <a:lnTo>
                    <a:pt x="156" y="216"/>
                  </a:lnTo>
                  <a:lnTo>
                    <a:pt x="140" y="216"/>
                  </a:lnTo>
                  <a:lnTo>
                    <a:pt x="128" y="198"/>
                  </a:lnTo>
                  <a:lnTo>
                    <a:pt x="114" y="190"/>
                  </a:lnTo>
                  <a:lnTo>
                    <a:pt x="102" y="190"/>
                  </a:lnTo>
                  <a:lnTo>
                    <a:pt x="88" y="190"/>
                  </a:lnTo>
                  <a:lnTo>
                    <a:pt x="76" y="180"/>
                  </a:lnTo>
                  <a:lnTo>
                    <a:pt x="62" y="180"/>
                  </a:lnTo>
                  <a:lnTo>
                    <a:pt x="46" y="190"/>
                  </a:lnTo>
                  <a:lnTo>
                    <a:pt x="34" y="198"/>
                  </a:lnTo>
                  <a:lnTo>
                    <a:pt x="20" y="198"/>
                  </a:lnTo>
                  <a:lnTo>
                    <a:pt x="6" y="190"/>
                  </a:lnTo>
                  <a:lnTo>
                    <a:pt x="0" y="190"/>
                  </a:lnTo>
                  <a:lnTo>
                    <a:pt x="6" y="190"/>
                  </a:lnTo>
                  <a:lnTo>
                    <a:pt x="20" y="170"/>
                  </a:lnTo>
                  <a:lnTo>
                    <a:pt x="34" y="162"/>
                  </a:lnTo>
                  <a:lnTo>
                    <a:pt x="46" y="152"/>
                  </a:lnTo>
                  <a:lnTo>
                    <a:pt x="62" y="144"/>
                  </a:lnTo>
                  <a:lnTo>
                    <a:pt x="62" y="128"/>
                  </a:lnTo>
                  <a:lnTo>
                    <a:pt x="62" y="108"/>
                  </a:lnTo>
                  <a:lnTo>
                    <a:pt x="72" y="102"/>
                  </a:lnTo>
                  <a:lnTo>
                    <a:pt x="82" y="84"/>
                  </a:lnTo>
                  <a:lnTo>
                    <a:pt x="86" y="66"/>
                  </a:lnTo>
                  <a:lnTo>
                    <a:pt x="102" y="48"/>
                  </a:lnTo>
                  <a:lnTo>
                    <a:pt x="114" y="40"/>
                  </a:lnTo>
                  <a:lnTo>
                    <a:pt x="128" y="30"/>
                  </a:lnTo>
                  <a:lnTo>
                    <a:pt x="128" y="28"/>
                  </a:lnTo>
                  <a:lnTo>
                    <a:pt x="122" y="32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75"/>
            <p:cNvSpPr>
              <a:spLocks/>
            </p:cNvSpPr>
            <p:nvPr/>
          </p:nvSpPr>
          <p:spPr bwMode="auto">
            <a:xfrm>
              <a:off x="2540278" y="4172198"/>
              <a:ext cx="789265" cy="541125"/>
            </a:xfrm>
            <a:custGeom>
              <a:avLst/>
              <a:gdLst>
                <a:gd name="T0" fmla="*/ 136 w 528"/>
                <a:gd name="T1" fmla="*/ 24 h 362"/>
                <a:gd name="T2" fmla="*/ 162 w 528"/>
                <a:gd name="T3" fmla="*/ 0 h 362"/>
                <a:gd name="T4" fmla="*/ 190 w 528"/>
                <a:gd name="T5" fmla="*/ 4 h 362"/>
                <a:gd name="T6" fmla="*/ 216 w 528"/>
                <a:gd name="T7" fmla="*/ 0 h 362"/>
                <a:gd name="T8" fmla="*/ 230 w 528"/>
                <a:gd name="T9" fmla="*/ 16 h 362"/>
                <a:gd name="T10" fmla="*/ 250 w 528"/>
                <a:gd name="T11" fmla="*/ 24 h 362"/>
                <a:gd name="T12" fmla="*/ 278 w 528"/>
                <a:gd name="T13" fmla="*/ 42 h 362"/>
                <a:gd name="T14" fmla="*/ 304 w 528"/>
                <a:gd name="T15" fmla="*/ 24 h 362"/>
                <a:gd name="T16" fmla="*/ 330 w 528"/>
                <a:gd name="T17" fmla="*/ 16 h 362"/>
                <a:gd name="T18" fmla="*/ 354 w 528"/>
                <a:gd name="T19" fmla="*/ 32 h 362"/>
                <a:gd name="T20" fmla="*/ 372 w 528"/>
                <a:gd name="T21" fmla="*/ 60 h 362"/>
                <a:gd name="T22" fmla="*/ 372 w 528"/>
                <a:gd name="T23" fmla="*/ 92 h 362"/>
                <a:gd name="T24" fmla="*/ 392 w 528"/>
                <a:gd name="T25" fmla="*/ 120 h 362"/>
                <a:gd name="T26" fmla="*/ 400 w 528"/>
                <a:gd name="T27" fmla="*/ 154 h 362"/>
                <a:gd name="T28" fmla="*/ 406 w 528"/>
                <a:gd name="T29" fmla="*/ 180 h 362"/>
                <a:gd name="T30" fmla="*/ 426 w 528"/>
                <a:gd name="T31" fmla="*/ 206 h 362"/>
                <a:gd name="T32" fmla="*/ 454 w 528"/>
                <a:gd name="T33" fmla="*/ 206 h 362"/>
                <a:gd name="T34" fmla="*/ 480 w 528"/>
                <a:gd name="T35" fmla="*/ 198 h 362"/>
                <a:gd name="T36" fmla="*/ 506 w 528"/>
                <a:gd name="T37" fmla="*/ 180 h 362"/>
                <a:gd name="T38" fmla="*/ 528 w 528"/>
                <a:gd name="T39" fmla="*/ 180 h 362"/>
                <a:gd name="T40" fmla="*/ 514 w 528"/>
                <a:gd name="T41" fmla="*/ 206 h 362"/>
                <a:gd name="T42" fmla="*/ 522 w 528"/>
                <a:gd name="T43" fmla="*/ 232 h 362"/>
                <a:gd name="T44" fmla="*/ 500 w 528"/>
                <a:gd name="T45" fmla="*/ 250 h 362"/>
                <a:gd name="T46" fmla="*/ 468 w 528"/>
                <a:gd name="T47" fmla="*/ 258 h 362"/>
                <a:gd name="T48" fmla="*/ 440 w 528"/>
                <a:gd name="T49" fmla="*/ 276 h 362"/>
                <a:gd name="T50" fmla="*/ 400 w 528"/>
                <a:gd name="T51" fmla="*/ 276 h 362"/>
                <a:gd name="T52" fmla="*/ 372 w 528"/>
                <a:gd name="T53" fmla="*/ 302 h 362"/>
                <a:gd name="T54" fmla="*/ 344 w 528"/>
                <a:gd name="T55" fmla="*/ 328 h 362"/>
                <a:gd name="T56" fmla="*/ 316 w 528"/>
                <a:gd name="T57" fmla="*/ 354 h 362"/>
                <a:gd name="T58" fmla="*/ 304 w 528"/>
                <a:gd name="T59" fmla="*/ 354 h 362"/>
                <a:gd name="T60" fmla="*/ 292 w 528"/>
                <a:gd name="T61" fmla="*/ 346 h 362"/>
                <a:gd name="T62" fmla="*/ 270 w 528"/>
                <a:gd name="T63" fmla="*/ 336 h 362"/>
                <a:gd name="T64" fmla="*/ 244 w 528"/>
                <a:gd name="T65" fmla="*/ 328 h 362"/>
                <a:gd name="T66" fmla="*/ 222 w 528"/>
                <a:gd name="T67" fmla="*/ 312 h 362"/>
                <a:gd name="T68" fmla="*/ 230 w 528"/>
                <a:gd name="T69" fmla="*/ 276 h 362"/>
                <a:gd name="T70" fmla="*/ 208 w 528"/>
                <a:gd name="T71" fmla="*/ 250 h 362"/>
                <a:gd name="T72" fmla="*/ 202 w 528"/>
                <a:gd name="T73" fmla="*/ 216 h 362"/>
                <a:gd name="T74" fmla="*/ 168 w 528"/>
                <a:gd name="T75" fmla="*/ 206 h 362"/>
                <a:gd name="T76" fmla="*/ 140 w 528"/>
                <a:gd name="T77" fmla="*/ 216 h 362"/>
                <a:gd name="T78" fmla="*/ 114 w 528"/>
                <a:gd name="T79" fmla="*/ 190 h 362"/>
                <a:gd name="T80" fmla="*/ 88 w 528"/>
                <a:gd name="T81" fmla="*/ 190 h 362"/>
                <a:gd name="T82" fmla="*/ 62 w 528"/>
                <a:gd name="T83" fmla="*/ 180 h 362"/>
                <a:gd name="T84" fmla="*/ 34 w 528"/>
                <a:gd name="T85" fmla="*/ 198 h 362"/>
                <a:gd name="T86" fmla="*/ 6 w 528"/>
                <a:gd name="T87" fmla="*/ 190 h 362"/>
                <a:gd name="T88" fmla="*/ 6 w 528"/>
                <a:gd name="T89" fmla="*/ 190 h 362"/>
                <a:gd name="T90" fmla="*/ 34 w 528"/>
                <a:gd name="T91" fmla="*/ 162 h 362"/>
                <a:gd name="T92" fmla="*/ 62 w 528"/>
                <a:gd name="T93" fmla="*/ 144 h 362"/>
                <a:gd name="T94" fmla="*/ 62 w 528"/>
                <a:gd name="T95" fmla="*/ 108 h 362"/>
                <a:gd name="T96" fmla="*/ 82 w 528"/>
                <a:gd name="T97" fmla="*/ 84 h 362"/>
                <a:gd name="T98" fmla="*/ 102 w 528"/>
                <a:gd name="T99" fmla="*/ 48 h 362"/>
                <a:gd name="T100" fmla="*/ 128 w 528"/>
                <a:gd name="T101" fmla="*/ 30 h 362"/>
                <a:gd name="T102" fmla="*/ 122 w 528"/>
                <a:gd name="T103" fmla="*/ 3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28" h="362">
                  <a:moveTo>
                    <a:pt x="122" y="32"/>
                  </a:moveTo>
                  <a:lnTo>
                    <a:pt x="136" y="24"/>
                  </a:lnTo>
                  <a:lnTo>
                    <a:pt x="148" y="16"/>
                  </a:lnTo>
                  <a:lnTo>
                    <a:pt x="162" y="0"/>
                  </a:lnTo>
                  <a:lnTo>
                    <a:pt x="176" y="0"/>
                  </a:lnTo>
                  <a:lnTo>
                    <a:pt x="190" y="4"/>
                  </a:lnTo>
                  <a:lnTo>
                    <a:pt x="204" y="4"/>
                  </a:lnTo>
                  <a:lnTo>
                    <a:pt x="216" y="0"/>
                  </a:lnTo>
                  <a:lnTo>
                    <a:pt x="230" y="0"/>
                  </a:lnTo>
                  <a:lnTo>
                    <a:pt x="230" y="16"/>
                  </a:lnTo>
                  <a:lnTo>
                    <a:pt x="238" y="32"/>
                  </a:lnTo>
                  <a:lnTo>
                    <a:pt x="250" y="24"/>
                  </a:lnTo>
                  <a:lnTo>
                    <a:pt x="264" y="32"/>
                  </a:lnTo>
                  <a:lnTo>
                    <a:pt x="278" y="42"/>
                  </a:lnTo>
                  <a:lnTo>
                    <a:pt x="292" y="24"/>
                  </a:lnTo>
                  <a:lnTo>
                    <a:pt x="304" y="24"/>
                  </a:lnTo>
                  <a:lnTo>
                    <a:pt x="316" y="24"/>
                  </a:lnTo>
                  <a:lnTo>
                    <a:pt x="330" y="16"/>
                  </a:lnTo>
                  <a:lnTo>
                    <a:pt x="344" y="16"/>
                  </a:lnTo>
                  <a:lnTo>
                    <a:pt x="354" y="32"/>
                  </a:lnTo>
                  <a:lnTo>
                    <a:pt x="360" y="50"/>
                  </a:lnTo>
                  <a:lnTo>
                    <a:pt x="372" y="60"/>
                  </a:lnTo>
                  <a:lnTo>
                    <a:pt x="372" y="76"/>
                  </a:lnTo>
                  <a:lnTo>
                    <a:pt x="372" y="92"/>
                  </a:lnTo>
                  <a:lnTo>
                    <a:pt x="378" y="110"/>
                  </a:lnTo>
                  <a:lnTo>
                    <a:pt x="392" y="120"/>
                  </a:lnTo>
                  <a:lnTo>
                    <a:pt x="392" y="138"/>
                  </a:lnTo>
                  <a:lnTo>
                    <a:pt x="400" y="154"/>
                  </a:lnTo>
                  <a:lnTo>
                    <a:pt x="392" y="170"/>
                  </a:lnTo>
                  <a:lnTo>
                    <a:pt x="406" y="180"/>
                  </a:lnTo>
                  <a:lnTo>
                    <a:pt x="414" y="198"/>
                  </a:lnTo>
                  <a:lnTo>
                    <a:pt x="426" y="206"/>
                  </a:lnTo>
                  <a:lnTo>
                    <a:pt x="440" y="198"/>
                  </a:lnTo>
                  <a:lnTo>
                    <a:pt x="454" y="206"/>
                  </a:lnTo>
                  <a:lnTo>
                    <a:pt x="468" y="206"/>
                  </a:lnTo>
                  <a:lnTo>
                    <a:pt x="480" y="198"/>
                  </a:lnTo>
                  <a:lnTo>
                    <a:pt x="494" y="190"/>
                  </a:lnTo>
                  <a:lnTo>
                    <a:pt x="506" y="180"/>
                  </a:lnTo>
                  <a:lnTo>
                    <a:pt x="522" y="180"/>
                  </a:lnTo>
                  <a:lnTo>
                    <a:pt x="528" y="180"/>
                  </a:lnTo>
                  <a:lnTo>
                    <a:pt x="528" y="196"/>
                  </a:lnTo>
                  <a:lnTo>
                    <a:pt x="514" y="206"/>
                  </a:lnTo>
                  <a:lnTo>
                    <a:pt x="514" y="222"/>
                  </a:lnTo>
                  <a:lnTo>
                    <a:pt x="522" y="232"/>
                  </a:lnTo>
                  <a:lnTo>
                    <a:pt x="514" y="250"/>
                  </a:lnTo>
                  <a:lnTo>
                    <a:pt x="500" y="250"/>
                  </a:lnTo>
                  <a:lnTo>
                    <a:pt x="480" y="250"/>
                  </a:lnTo>
                  <a:lnTo>
                    <a:pt x="468" y="258"/>
                  </a:lnTo>
                  <a:lnTo>
                    <a:pt x="462" y="276"/>
                  </a:lnTo>
                  <a:lnTo>
                    <a:pt x="440" y="276"/>
                  </a:lnTo>
                  <a:lnTo>
                    <a:pt x="420" y="276"/>
                  </a:lnTo>
                  <a:lnTo>
                    <a:pt x="400" y="276"/>
                  </a:lnTo>
                  <a:lnTo>
                    <a:pt x="386" y="292"/>
                  </a:lnTo>
                  <a:lnTo>
                    <a:pt x="372" y="302"/>
                  </a:lnTo>
                  <a:lnTo>
                    <a:pt x="352" y="312"/>
                  </a:lnTo>
                  <a:lnTo>
                    <a:pt x="344" y="328"/>
                  </a:lnTo>
                  <a:lnTo>
                    <a:pt x="330" y="336"/>
                  </a:lnTo>
                  <a:lnTo>
                    <a:pt x="316" y="354"/>
                  </a:lnTo>
                  <a:lnTo>
                    <a:pt x="304" y="362"/>
                  </a:lnTo>
                  <a:lnTo>
                    <a:pt x="304" y="354"/>
                  </a:lnTo>
                  <a:lnTo>
                    <a:pt x="298" y="348"/>
                  </a:lnTo>
                  <a:lnTo>
                    <a:pt x="292" y="346"/>
                  </a:lnTo>
                  <a:lnTo>
                    <a:pt x="278" y="354"/>
                  </a:lnTo>
                  <a:lnTo>
                    <a:pt x="270" y="336"/>
                  </a:lnTo>
                  <a:lnTo>
                    <a:pt x="258" y="328"/>
                  </a:lnTo>
                  <a:lnTo>
                    <a:pt x="244" y="328"/>
                  </a:lnTo>
                  <a:lnTo>
                    <a:pt x="230" y="328"/>
                  </a:lnTo>
                  <a:lnTo>
                    <a:pt x="222" y="312"/>
                  </a:lnTo>
                  <a:lnTo>
                    <a:pt x="230" y="292"/>
                  </a:lnTo>
                  <a:lnTo>
                    <a:pt x="230" y="276"/>
                  </a:lnTo>
                  <a:lnTo>
                    <a:pt x="216" y="266"/>
                  </a:lnTo>
                  <a:lnTo>
                    <a:pt x="208" y="250"/>
                  </a:lnTo>
                  <a:lnTo>
                    <a:pt x="216" y="232"/>
                  </a:lnTo>
                  <a:lnTo>
                    <a:pt x="202" y="216"/>
                  </a:lnTo>
                  <a:lnTo>
                    <a:pt x="182" y="206"/>
                  </a:lnTo>
                  <a:lnTo>
                    <a:pt x="168" y="206"/>
                  </a:lnTo>
                  <a:lnTo>
                    <a:pt x="156" y="216"/>
                  </a:lnTo>
                  <a:lnTo>
                    <a:pt x="140" y="216"/>
                  </a:lnTo>
                  <a:lnTo>
                    <a:pt x="128" y="198"/>
                  </a:lnTo>
                  <a:lnTo>
                    <a:pt x="114" y="190"/>
                  </a:lnTo>
                  <a:lnTo>
                    <a:pt x="102" y="190"/>
                  </a:lnTo>
                  <a:lnTo>
                    <a:pt x="88" y="190"/>
                  </a:lnTo>
                  <a:lnTo>
                    <a:pt x="76" y="180"/>
                  </a:lnTo>
                  <a:lnTo>
                    <a:pt x="62" y="180"/>
                  </a:lnTo>
                  <a:lnTo>
                    <a:pt x="46" y="190"/>
                  </a:lnTo>
                  <a:lnTo>
                    <a:pt x="34" y="198"/>
                  </a:lnTo>
                  <a:lnTo>
                    <a:pt x="20" y="198"/>
                  </a:lnTo>
                  <a:lnTo>
                    <a:pt x="6" y="190"/>
                  </a:lnTo>
                  <a:lnTo>
                    <a:pt x="0" y="190"/>
                  </a:lnTo>
                  <a:lnTo>
                    <a:pt x="6" y="190"/>
                  </a:lnTo>
                  <a:lnTo>
                    <a:pt x="20" y="170"/>
                  </a:lnTo>
                  <a:lnTo>
                    <a:pt x="34" y="162"/>
                  </a:lnTo>
                  <a:lnTo>
                    <a:pt x="46" y="152"/>
                  </a:lnTo>
                  <a:lnTo>
                    <a:pt x="62" y="144"/>
                  </a:lnTo>
                  <a:lnTo>
                    <a:pt x="62" y="128"/>
                  </a:lnTo>
                  <a:lnTo>
                    <a:pt x="62" y="108"/>
                  </a:lnTo>
                  <a:lnTo>
                    <a:pt x="72" y="102"/>
                  </a:lnTo>
                  <a:lnTo>
                    <a:pt x="82" y="84"/>
                  </a:lnTo>
                  <a:lnTo>
                    <a:pt x="86" y="66"/>
                  </a:lnTo>
                  <a:lnTo>
                    <a:pt x="102" y="48"/>
                  </a:lnTo>
                  <a:lnTo>
                    <a:pt x="114" y="40"/>
                  </a:lnTo>
                  <a:lnTo>
                    <a:pt x="128" y="30"/>
                  </a:lnTo>
                  <a:lnTo>
                    <a:pt x="128" y="28"/>
                  </a:lnTo>
                  <a:lnTo>
                    <a:pt x="122" y="32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76"/>
            <p:cNvSpPr>
              <a:spLocks/>
            </p:cNvSpPr>
            <p:nvPr/>
          </p:nvSpPr>
          <p:spPr bwMode="auto">
            <a:xfrm>
              <a:off x="2399765" y="4438275"/>
              <a:ext cx="594938" cy="418550"/>
            </a:xfrm>
            <a:custGeom>
              <a:avLst/>
              <a:gdLst>
                <a:gd name="T0" fmla="*/ 94 w 398"/>
                <a:gd name="T1" fmla="*/ 10 h 280"/>
                <a:gd name="T2" fmla="*/ 66 w 398"/>
                <a:gd name="T3" fmla="*/ 28 h 280"/>
                <a:gd name="T4" fmla="*/ 58 w 398"/>
                <a:gd name="T5" fmla="*/ 62 h 280"/>
                <a:gd name="T6" fmla="*/ 40 w 398"/>
                <a:gd name="T7" fmla="*/ 80 h 280"/>
                <a:gd name="T8" fmla="*/ 28 w 398"/>
                <a:gd name="T9" fmla="*/ 106 h 280"/>
                <a:gd name="T10" fmla="*/ 6 w 398"/>
                <a:gd name="T11" fmla="*/ 126 h 280"/>
                <a:gd name="T12" fmla="*/ 0 w 398"/>
                <a:gd name="T13" fmla="*/ 158 h 280"/>
                <a:gd name="T14" fmla="*/ 6 w 398"/>
                <a:gd name="T15" fmla="*/ 192 h 280"/>
                <a:gd name="T16" fmla="*/ 34 w 398"/>
                <a:gd name="T17" fmla="*/ 184 h 280"/>
                <a:gd name="T18" fmla="*/ 60 w 398"/>
                <a:gd name="T19" fmla="*/ 208 h 280"/>
                <a:gd name="T20" fmla="*/ 60 w 398"/>
                <a:gd name="T21" fmla="*/ 244 h 280"/>
                <a:gd name="T22" fmla="*/ 66 w 398"/>
                <a:gd name="T23" fmla="*/ 252 h 280"/>
                <a:gd name="T24" fmla="*/ 94 w 398"/>
                <a:gd name="T25" fmla="*/ 262 h 280"/>
                <a:gd name="T26" fmla="*/ 120 w 398"/>
                <a:gd name="T27" fmla="*/ 270 h 280"/>
                <a:gd name="T28" fmla="*/ 150 w 398"/>
                <a:gd name="T29" fmla="*/ 262 h 280"/>
                <a:gd name="T30" fmla="*/ 176 w 398"/>
                <a:gd name="T31" fmla="*/ 270 h 280"/>
                <a:gd name="T32" fmla="*/ 196 w 398"/>
                <a:gd name="T33" fmla="*/ 280 h 280"/>
                <a:gd name="T34" fmla="*/ 222 w 398"/>
                <a:gd name="T35" fmla="*/ 270 h 280"/>
                <a:gd name="T36" fmla="*/ 236 w 398"/>
                <a:gd name="T37" fmla="*/ 252 h 280"/>
                <a:gd name="T38" fmla="*/ 262 w 398"/>
                <a:gd name="T39" fmla="*/ 236 h 280"/>
                <a:gd name="T40" fmla="*/ 296 w 398"/>
                <a:gd name="T41" fmla="*/ 252 h 280"/>
                <a:gd name="T42" fmla="*/ 324 w 398"/>
                <a:gd name="T43" fmla="*/ 244 h 280"/>
                <a:gd name="T44" fmla="*/ 352 w 398"/>
                <a:gd name="T45" fmla="*/ 244 h 280"/>
                <a:gd name="T46" fmla="*/ 364 w 398"/>
                <a:gd name="T47" fmla="*/ 234 h 280"/>
                <a:gd name="T48" fmla="*/ 364 w 398"/>
                <a:gd name="T49" fmla="*/ 200 h 280"/>
                <a:gd name="T50" fmla="*/ 392 w 398"/>
                <a:gd name="T51" fmla="*/ 190 h 280"/>
                <a:gd name="T52" fmla="*/ 384 w 398"/>
                <a:gd name="T53" fmla="*/ 166 h 280"/>
                <a:gd name="T54" fmla="*/ 364 w 398"/>
                <a:gd name="T55" fmla="*/ 156 h 280"/>
                <a:gd name="T56" fmla="*/ 338 w 398"/>
                <a:gd name="T57" fmla="*/ 150 h 280"/>
                <a:gd name="T58" fmla="*/ 318 w 398"/>
                <a:gd name="T59" fmla="*/ 130 h 280"/>
                <a:gd name="T60" fmla="*/ 324 w 398"/>
                <a:gd name="T61" fmla="*/ 96 h 280"/>
                <a:gd name="T62" fmla="*/ 302 w 398"/>
                <a:gd name="T63" fmla="*/ 70 h 280"/>
                <a:gd name="T64" fmla="*/ 296 w 398"/>
                <a:gd name="T65" fmla="*/ 36 h 280"/>
                <a:gd name="T66" fmla="*/ 262 w 398"/>
                <a:gd name="T67" fmla="*/ 26 h 280"/>
                <a:gd name="T68" fmla="*/ 236 w 398"/>
                <a:gd name="T69" fmla="*/ 36 h 280"/>
                <a:gd name="T70" fmla="*/ 208 w 398"/>
                <a:gd name="T71" fmla="*/ 10 h 280"/>
                <a:gd name="T72" fmla="*/ 182 w 398"/>
                <a:gd name="T73" fmla="*/ 10 h 280"/>
                <a:gd name="T74" fmla="*/ 156 w 398"/>
                <a:gd name="T75" fmla="*/ 0 h 280"/>
                <a:gd name="T76" fmla="*/ 128 w 398"/>
                <a:gd name="T77" fmla="*/ 18 h 280"/>
                <a:gd name="T78" fmla="*/ 102 w 398"/>
                <a:gd name="T79" fmla="*/ 10 h 280"/>
                <a:gd name="T80" fmla="*/ 102 w 398"/>
                <a:gd name="T81" fmla="*/ 1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8" h="280">
                  <a:moveTo>
                    <a:pt x="102" y="10"/>
                  </a:moveTo>
                  <a:lnTo>
                    <a:pt x="94" y="10"/>
                  </a:lnTo>
                  <a:lnTo>
                    <a:pt x="80" y="20"/>
                  </a:lnTo>
                  <a:lnTo>
                    <a:pt x="66" y="28"/>
                  </a:lnTo>
                  <a:lnTo>
                    <a:pt x="58" y="46"/>
                  </a:lnTo>
                  <a:lnTo>
                    <a:pt x="58" y="62"/>
                  </a:lnTo>
                  <a:lnTo>
                    <a:pt x="46" y="62"/>
                  </a:lnTo>
                  <a:lnTo>
                    <a:pt x="40" y="80"/>
                  </a:lnTo>
                  <a:lnTo>
                    <a:pt x="40" y="96"/>
                  </a:lnTo>
                  <a:lnTo>
                    <a:pt x="28" y="106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0" y="142"/>
                  </a:lnTo>
                  <a:lnTo>
                    <a:pt x="0" y="158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20" y="192"/>
                  </a:lnTo>
                  <a:lnTo>
                    <a:pt x="34" y="184"/>
                  </a:lnTo>
                  <a:lnTo>
                    <a:pt x="48" y="202"/>
                  </a:lnTo>
                  <a:lnTo>
                    <a:pt x="60" y="208"/>
                  </a:lnTo>
                  <a:lnTo>
                    <a:pt x="60" y="226"/>
                  </a:lnTo>
                  <a:lnTo>
                    <a:pt x="60" y="244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80" y="252"/>
                  </a:lnTo>
                  <a:lnTo>
                    <a:pt x="94" y="262"/>
                  </a:lnTo>
                  <a:lnTo>
                    <a:pt x="108" y="270"/>
                  </a:lnTo>
                  <a:lnTo>
                    <a:pt x="120" y="270"/>
                  </a:lnTo>
                  <a:lnTo>
                    <a:pt x="134" y="262"/>
                  </a:lnTo>
                  <a:lnTo>
                    <a:pt x="150" y="262"/>
                  </a:lnTo>
                  <a:lnTo>
                    <a:pt x="162" y="262"/>
                  </a:lnTo>
                  <a:lnTo>
                    <a:pt x="176" y="270"/>
                  </a:lnTo>
                  <a:lnTo>
                    <a:pt x="182" y="270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22" y="270"/>
                  </a:lnTo>
                  <a:lnTo>
                    <a:pt x="222" y="252"/>
                  </a:lnTo>
                  <a:lnTo>
                    <a:pt x="236" y="252"/>
                  </a:lnTo>
                  <a:lnTo>
                    <a:pt x="250" y="244"/>
                  </a:lnTo>
                  <a:lnTo>
                    <a:pt x="262" y="236"/>
                  </a:lnTo>
                  <a:lnTo>
                    <a:pt x="278" y="244"/>
                  </a:lnTo>
                  <a:lnTo>
                    <a:pt x="296" y="252"/>
                  </a:lnTo>
                  <a:lnTo>
                    <a:pt x="318" y="252"/>
                  </a:lnTo>
                  <a:lnTo>
                    <a:pt x="324" y="244"/>
                  </a:lnTo>
                  <a:lnTo>
                    <a:pt x="338" y="236"/>
                  </a:lnTo>
                  <a:lnTo>
                    <a:pt x="352" y="244"/>
                  </a:lnTo>
                  <a:lnTo>
                    <a:pt x="352" y="244"/>
                  </a:lnTo>
                  <a:lnTo>
                    <a:pt x="364" y="234"/>
                  </a:lnTo>
                  <a:lnTo>
                    <a:pt x="372" y="218"/>
                  </a:lnTo>
                  <a:lnTo>
                    <a:pt x="364" y="200"/>
                  </a:lnTo>
                  <a:lnTo>
                    <a:pt x="378" y="190"/>
                  </a:lnTo>
                  <a:lnTo>
                    <a:pt x="392" y="190"/>
                  </a:lnTo>
                  <a:lnTo>
                    <a:pt x="398" y="174"/>
                  </a:lnTo>
                  <a:lnTo>
                    <a:pt x="384" y="166"/>
                  </a:lnTo>
                  <a:lnTo>
                    <a:pt x="372" y="174"/>
                  </a:lnTo>
                  <a:lnTo>
                    <a:pt x="364" y="156"/>
                  </a:lnTo>
                  <a:lnTo>
                    <a:pt x="352" y="150"/>
                  </a:lnTo>
                  <a:lnTo>
                    <a:pt x="338" y="150"/>
                  </a:lnTo>
                  <a:lnTo>
                    <a:pt x="324" y="150"/>
                  </a:lnTo>
                  <a:lnTo>
                    <a:pt x="318" y="130"/>
                  </a:lnTo>
                  <a:lnTo>
                    <a:pt x="324" y="114"/>
                  </a:lnTo>
                  <a:lnTo>
                    <a:pt x="324" y="96"/>
                  </a:lnTo>
                  <a:lnTo>
                    <a:pt x="310" y="88"/>
                  </a:lnTo>
                  <a:lnTo>
                    <a:pt x="302" y="70"/>
                  </a:lnTo>
                  <a:lnTo>
                    <a:pt x="310" y="52"/>
                  </a:lnTo>
                  <a:lnTo>
                    <a:pt x="296" y="36"/>
                  </a:lnTo>
                  <a:lnTo>
                    <a:pt x="278" y="26"/>
                  </a:lnTo>
                  <a:lnTo>
                    <a:pt x="262" y="26"/>
                  </a:lnTo>
                  <a:lnTo>
                    <a:pt x="250" y="36"/>
                  </a:lnTo>
                  <a:lnTo>
                    <a:pt x="236" y="36"/>
                  </a:lnTo>
                  <a:lnTo>
                    <a:pt x="222" y="18"/>
                  </a:lnTo>
                  <a:lnTo>
                    <a:pt x="208" y="10"/>
                  </a:lnTo>
                  <a:lnTo>
                    <a:pt x="196" y="10"/>
                  </a:lnTo>
                  <a:lnTo>
                    <a:pt x="182" y="10"/>
                  </a:lnTo>
                  <a:lnTo>
                    <a:pt x="170" y="0"/>
                  </a:lnTo>
                  <a:lnTo>
                    <a:pt x="156" y="0"/>
                  </a:lnTo>
                  <a:lnTo>
                    <a:pt x="142" y="10"/>
                  </a:lnTo>
                  <a:lnTo>
                    <a:pt x="128" y="18"/>
                  </a:lnTo>
                  <a:lnTo>
                    <a:pt x="114" y="18"/>
                  </a:lnTo>
                  <a:lnTo>
                    <a:pt x="102" y="10"/>
                  </a:lnTo>
                  <a:lnTo>
                    <a:pt x="94" y="10"/>
                  </a:lnTo>
                  <a:lnTo>
                    <a:pt x="102" y="1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77"/>
            <p:cNvSpPr>
              <a:spLocks/>
            </p:cNvSpPr>
            <p:nvPr/>
          </p:nvSpPr>
          <p:spPr bwMode="auto">
            <a:xfrm>
              <a:off x="2399765" y="4438275"/>
              <a:ext cx="594938" cy="418550"/>
            </a:xfrm>
            <a:custGeom>
              <a:avLst/>
              <a:gdLst>
                <a:gd name="T0" fmla="*/ 94 w 398"/>
                <a:gd name="T1" fmla="*/ 10 h 280"/>
                <a:gd name="T2" fmla="*/ 66 w 398"/>
                <a:gd name="T3" fmla="*/ 28 h 280"/>
                <a:gd name="T4" fmla="*/ 58 w 398"/>
                <a:gd name="T5" fmla="*/ 62 h 280"/>
                <a:gd name="T6" fmla="*/ 40 w 398"/>
                <a:gd name="T7" fmla="*/ 80 h 280"/>
                <a:gd name="T8" fmla="*/ 28 w 398"/>
                <a:gd name="T9" fmla="*/ 106 h 280"/>
                <a:gd name="T10" fmla="*/ 6 w 398"/>
                <a:gd name="T11" fmla="*/ 126 h 280"/>
                <a:gd name="T12" fmla="*/ 0 w 398"/>
                <a:gd name="T13" fmla="*/ 158 h 280"/>
                <a:gd name="T14" fmla="*/ 6 w 398"/>
                <a:gd name="T15" fmla="*/ 192 h 280"/>
                <a:gd name="T16" fmla="*/ 34 w 398"/>
                <a:gd name="T17" fmla="*/ 184 h 280"/>
                <a:gd name="T18" fmla="*/ 60 w 398"/>
                <a:gd name="T19" fmla="*/ 208 h 280"/>
                <a:gd name="T20" fmla="*/ 60 w 398"/>
                <a:gd name="T21" fmla="*/ 244 h 280"/>
                <a:gd name="T22" fmla="*/ 66 w 398"/>
                <a:gd name="T23" fmla="*/ 252 h 280"/>
                <a:gd name="T24" fmla="*/ 94 w 398"/>
                <a:gd name="T25" fmla="*/ 262 h 280"/>
                <a:gd name="T26" fmla="*/ 120 w 398"/>
                <a:gd name="T27" fmla="*/ 270 h 280"/>
                <a:gd name="T28" fmla="*/ 150 w 398"/>
                <a:gd name="T29" fmla="*/ 262 h 280"/>
                <a:gd name="T30" fmla="*/ 176 w 398"/>
                <a:gd name="T31" fmla="*/ 270 h 280"/>
                <a:gd name="T32" fmla="*/ 196 w 398"/>
                <a:gd name="T33" fmla="*/ 280 h 280"/>
                <a:gd name="T34" fmla="*/ 222 w 398"/>
                <a:gd name="T35" fmla="*/ 270 h 280"/>
                <a:gd name="T36" fmla="*/ 236 w 398"/>
                <a:gd name="T37" fmla="*/ 252 h 280"/>
                <a:gd name="T38" fmla="*/ 262 w 398"/>
                <a:gd name="T39" fmla="*/ 236 h 280"/>
                <a:gd name="T40" fmla="*/ 296 w 398"/>
                <a:gd name="T41" fmla="*/ 252 h 280"/>
                <a:gd name="T42" fmla="*/ 324 w 398"/>
                <a:gd name="T43" fmla="*/ 244 h 280"/>
                <a:gd name="T44" fmla="*/ 352 w 398"/>
                <a:gd name="T45" fmla="*/ 244 h 280"/>
                <a:gd name="T46" fmla="*/ 364 w 398"/>
                <a:gd name="T47" fmla="*/ 234 h 280"/>
                <a:gd name="T48" fmla="*/ 364 w 398"/>
                <a:gd name="T49" fmla="*/ 200 h 280"/>
                <a:gd name="T50" fmla="*/ 392 w 398"/>
                <a:gd name="T51" fmla="*/ 190 h 280"/>
                <a:gd name="T52" fmla="*/ 384 w 398"/>
                <a:gd name="T53" fmla="*/ 166 h 280"/>
                <a:gd name="T54" fmla="*/ 364 w 398"/>
                <a:gd name="T55" fmla="*/ 156 h 280"/>
                <a:gd name="T56" fmla="*/ 338 w 398"/>
                <a:gd name="T57" fmla="*/ 150 h 280"/>
                <a:gd name="T58" fmla="*/ 318 w 398"/>
                <a:gd name="T59" fmla="*/ 130 h 280"/>
                <a:gd name="T60" fmla="*/ 324 w 398"/>
                <a:gd name="T61" fmla="*/ 96 h 280"/>
                <a:gd name="T62" fmla="*/ 302 w 398"/>
                <a:gd name="T63" fmla="*/ 70 h 280"/>
                <a:gd name="T64" fmla="*/ 296 w 398"/>
                <a:gd name="T65" fmla="*/ 36 h 280"/>
                <a:gd name="T66" fmla="*/ 262 w 398"/>
                <a:gd name="T67" fmla="*/ 26 h 280"/>
                <a:gd name="T68" fmla="*/ 236 w 398"/>
                <a:gd name="T69" fmla="*/ 36 h 280"/>
                <a:gd name="T70" fmla="*/ 208 w 398"/>
                <a:gd name="T71" fmla="*/ 10 h 280"/>
                <a:gd name="T72" fmla="*/ 182 w 398"/>
                <a:gd name="T73" fmla="*/ 10 h 280"/>
                <a:gd name="T74" fmla="*/ 156 w 398"/>
                <a:gd name="T75" fmla="*/ 0 h 280"/>
                <a:gd name="T76" fmla="*/ 128 w 398"/>
                <a:gd name="T77" fmla="*/ 18 h 280"/>
                <a:gd name="T78" fmla="*/ 102 w 398"/>
                <a:gd name="T79" fmla="*/ 10 h 280"/>
                <a:gd name="T80" fmla="*/ 102 w 398"/>
                <a:gd name="T81" fmla="*/ 1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8" h="280">
                  <a:moveTo>
                    <a:pt x="102" y="10"/>
                  </a:moveTo>
                  <a:lnTo>
                    <a:pt x="94" y="10"/>
                  </a:lnTo>
                  <a:lnTo>
                    <a:pt x="80" y="20"/>
                  </a:lnTo>
                  <a:lnTo>
                    <a:pt x="66" y="28"/>
                  </a:lnTo>
                  <a:lnTo>
                    <a:pt x="58" y="46"/>
                  </a:lnTo>
                  <a:lnTo>
                    <a:pt x="58" y="62"/>
                  </a:lnTo>
                  <a:lnTo>
                    <a:pt x="46" y="62"/>
                  </a:lnTo>
                  <a:lnTo>
                    <a:pt x="40" y="80"/>
                  </a:lnTo>
                  <a:lnTo>
                    <a:pt x="40" y="96"/>
                  </a:lnTo>
                  <a:lnTo>
                    <a:pt x="28" y="106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0" y="142"/>
                  </a:lnTo>
                  <a:lnTo>
                    <a:pt x="0" y="158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20" y="192"/>
                  </a:lnTo>
                  <a:lnTo>
                    <a:pt x="34" y="184"/>
                  </a:lnTo>
                  <a:lnTo>
                    <a:pt x="48" y="202"/>
                  </a:lnTo>
                  <a:lnTo>
                    <a:pt x="60" y="208"/>
                  </a:lnTo>
                  <a:lnTo>
                    <a:pt x="60" y="226"/>
                  </a:lnTo>
                  <a:lnTo>
                    <a:pt x="60" y="244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80" y="252"/>
                  </a:lnTo>
                  <a:lnTo>
                    <a:pt x="94" y="262"/>
                  </a:lnTo>
                  <a:lnTo>
                    <a:pt x="108" y="270"/>
                  </a:lnTo>
                  <a:lnTo>
                    <a:pt x="120" y="270"/>
                  </a:lnTo>
                  <a:lnTo>
                    <a:pt x="134" y="262"/>
                  </a:lnTo>
                  <a:lnTo>
                    <a:pt x="150" y="262"/>
                  </a:lnTo>
                  <a:lnTo>
                    <a:pt x="162" y="262"/>
                  </a:lnTo>
                  <a:lnTo>
                    <a:pt x="176" y="270"/>
                  </a:lnTo>
                  <a:lnTo>
                    <a:pt x="182" y="270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22" y="270"/>
                  </a:lnTo>
                  <a:lnTo>
                    <a:pt x="222" y="252"/>
                  </a:lnTo>
                  <a:lnTo>
                    <a:pt x="236" y="252"/>
                  </a:lnTo>
                  <a:lnTo>
                    <a:pt x="250" y="244"/>
                  </a:lnTo>
                  <a:lnTo>
                    <a:pt x="262" y="236"/>
                  </a:lnTo>
                  <a:lnTo>
                    <a:pt x="278" y="244"/>
                  </a:lnTo>
                  <a:lnTo>
                    <a:pt x="296" y="252"/>
                  </a:lnTo>
                  <a:lnTo>
                    <a:pt x="318" y="252"/>
                  </a:lnTo>
                  <a:lnTo>
                    <a:pt x="324" y="244"/>
                  </a:lnTo>
                  <a:lnTo>
                    <a:pt x="338" y="236"/>
                  </a:lnTo>
                  <a:lnTo>
                    <a:pt x="352" y="244"/>
                  </a:lnTo>
                  <a:lnTo>
                    <a:pt x="352" y="244"/>
                  </a:lnTo>
                  <a:lnTo>
                    <a:pt x="364" y="234"/>
                  </a:lnTo>
                  <a:lnTo>
                    <a:pt x="372" y="218"/>
                  </a:lnTo>
                  <a:lnTo>
                    <a:pt x="364" y="200"/>
                  </a:lnTo>
                  <a:lnTo>
                    <a:pt x="378" y="190"/>
                  </a:lnTo>
                  <a:lnTo>
                    <a:pt x="392" y="190"/>
                  </a:lnTo>
                  <a:lnTo>
                    <a:pt x="398" y="174"/>
                  </a:lnTo>
                  <a:lnTo>
                    <a:pt x="384" y="166"/>
                  </a:lnTo>
                  <a:lnTo>
                    <a:pt x="372" y="174"/>
                  </a:lnTo>
                  <a:lnTo>
                    <a:pt x="364" y="156"/>
                  </a:lnTo>
                  <a:lnTo>
                    <a:pt x="352" y="150"/>
                  </a:lnTo>
                  <a:lnTo>
                    <a:pt x="338" y="150"/>
                  </a:lnTo>
                  <a:lnTo>
                    <a:pt x="324" y="150"/>
                  </a:lnTo>
                  <a:lnTo>
                    <a:pt x="318" y="130"/>
                  </a:lnTo>
                  <a:lnTo>
                    <a:pt x="324" y="114"/>
                  </a:lnTo>
                  <a:lnTo>
                    <a:pt x="324" y="96"/>
                  </a:lnTo>
                  <a:lnTo>
                    <a:pt x="310" y="88"/>
                  </a:lnTo>
                  <a:lnTo>
                    <a:pt x="302" y="70"/>
                  </a:lnTo>
                  <a:lnTo>
                    <a:pt x="310" y="52"/>
                  </a:lnTo>
                  <a:lnTo>
                    <a:pt x="296" y="36"/>
                  </a:lnTo>
                  <a:lnTo>
                    <a:pt x="278" y="26"/>
                  </a:lnTo>
                  <a:lnTo>
                    <a:pt x="262" y="26"/>
                  </a:lnTo>
                  <a:lnTo>
                    <a:pt x="250" y="36"/>
                  </a:lnTo>
                  <a:lnTo>
                    <a:pt x="236" y="36"/>
                  </a:lnTo>
                  <a:lnTo>
                    <a:pt x="222" y="18"/>
                  </a:lnTo>
                  <a:lnTo>
                    <a:pt x="208" y="10"/>
                  </a:lnTo>
                  <a:lnTo>
                    <a:pt x="196" y="10"/>
                  </a:lnTo>
                  <a:lnTo>
                    <a:pt x="182" y="10"/>
                  </a:lnTo>
                  <a:lnTo>
                    <a:pt x="170" y="0"/>
                  </a:lnTo>
                  <a:lnTo>
                    <a:pt x="156" y="0"/>
                  </a:lnTo>
                  <a:lnTo>
                    <a:pt x="142" y="10"/>
                  </a:lnTo>
                  <a:lnTo>
                    <a:pt x="128" y="18"/>
                  </a:lnTo>
                  <a:lnTo>
                    <a:pt x="114" y="18"/>
                  </a:lnTo>
                  <a:lnTo>
                    <a:pt x="102" y="10"/>
                  </a:lnTo>
                  <a:lnTo>
                    <a:pt x="94" y="10"/>
                  </a:lnTo>
                  <a:lnTo>
                    <a:pt x="102" y="10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78"/>
            <p:cNvSpPr>
              <a:spLocks/>
            </p:cNvSpPr>
            <p:nvPr/>
          </p:nvSpPr>
          <p:spPr bwMode="auto">
            <a:xfrm>
              <a:off x="2471517" y="4791053"/>
              <a:ext cx="475353" cy="325871"/>
            </a:xfrm>
            <a:custGeom>
              <a:avLst/>
              <a:gdLst>
                <a:gd name="T0" fmla="*/ 6 w 318"/>
                <a:gd name="T1" fmla="*/ 18 h 218"/>
                <a:gd name="T2" fmla="*/ 20 w 318"/>
                <a:gd name="T3" fmla="*/ 18 h 218"/>
                <a:gd name="T4" fmla="*/ 34 w 318"/>
                <a:gd name="T5" fmla="*/ 18 h 218"/>
                <a:gd name="T6" fmla="*/ 46 w 318"/>
                <a:gd name="T7" fmla="*/ 26 h 218"/>
                <a:gd name="T8" fmla="*/ 60 w 318"/>
                <a:gd name="T9" fmla="*/ 36 h 218"/>
                <a:gd name="T10" fmla="*/ 74 w 318"/>
                <a:gd name="T11" fmla="*/ 36 h 218"/>
                <a:gd name="T12" fmla="*/ 88 w 318"/>
                <a:gd name="T13" fmla="*/ 26 h 218"/>
                <a:gd name="T14" fmla="*/ 102 w 318"/>
                <a:gd name="T15" fmla="*/ 26 h 218"/>
                <a:gd name="T16" fmla="*/ 116 w 318"/>
                <a:gd name="T17" fmla="*/ 26 h 218"/>
                <a:gd name="T18" fmla="*/ 128 w 318"/>
                <a:gd name="T19" fmla="*/ 36 h 218"/>
                <a:gd name="T20" fmla="*/ 134 w 318"/>
                <a:gd name="T21" fmla="*/ 36 h 218"/>
                <a:gd name="T22" fmla="*/ 148 w 318"/>
                <a:gd name="T23" fmla="*/ 42 h 218"/>
                <a:gd name="T24" fmla="*/ 160 w 318"/>
                <a:gd name="T25" fmla="*/ 42 h 218"/>
                <a:gd name="T26" fmla="*/ 176 w 318"/>
                <a:gd name="T27" fmla="*/ 36 h 218"/>
                <a:gd name="T28" fmla="*/ 176 w 318"/>
                <a:gd name="T29" fmla="*/ 18 h 218"/>
                <a:gd name="T30" fmla="*/ 188 w 318"/>
                <a:gd name="T31" fmla="*/ 18 h 218"/>
                <a:gd name="T32" fmla="*/ 202 w 318"/>
                <a:gd name="T33" fmla="*/ 10 h 218"/>
                <a:gd name="T34" fmla="*/ 216 w 318"/>
                <a:gd name="T35" fmla="*/ 0 h 218"/>
                <a:gd name="T36" fmla="*/ 228 w 318"/>
                <a:gd name="T37" fmla="*/ 10 h 218"/>
                <a:gd name="T38" fmla="*/ 250 w 318"/>
                <a:gd name="T39" fmla="*/ 18 h 218"/>
                <a:gd name="T40" fmla="*/ 270 w 318"/>
                <a:gd name="T41" fmla="*/ 18 h 218"/>
                <a:gd name="T42" fmla="*/ 278 w 318"/>
                <a:gd name="T43" fmla="*/ 10 h 218"/>
                <a:gd name="T44" fmla="*/ 290 w 318"/>
                <a:gd name="T45" fmla="*/ 0 h 218"/>
                <a:gd name="T46" fmla="*/ 306 w 318"/>
                <a:gd name="T47" fmla="*/ 10 h 218"/>
                <a:gd name="T48" fmla="*/ 312 w 318"/>
                <a:gd name="T49" fmla="*/ 28 h 218"/>
                <a:gd name="T50" fmla="*/ 318 w 318"/>
                <a:gd name="T51" fmla="*/ 44 h 218"/>
                <a:gd name="T52" fmla="*/ 312 w 318"/>
                <a:gd name="T53" fmla="*/ 62 h 218"/>
                <a:gd name="T54" fmla="*/ 318 w 318"/>
                <a:gd name="T55" fmla="*/ 78 h 218"/>
                <a:gd name="T56" fmla="*/ 318 w 318"/>
                <a:gd name="T57" fmla="*/ 98 h 218"/>
                <a:gd name="T58" fmla="*/ 312 w 318"/>
                <a:gd name="T59" fmla="*/ 112 h 218"/>
                <a:gd name="T60" fmla="*/ 306 w 318"/>
                <a:gd name="T61" fmla="*/ 130 h 218"/>
                <a:gd name="T62" fmla="*/ 306 w 318"/>
                <a:gd name="T63" fmla="*/ 148 h 218"/>
                <a:gd name="T64" fmla="*/ 290 w 318"/>
                <a:gd name="T65" fmla="*/ 172 h 218"/>
                <a:gd name="T66" fmla="*/ 278 w 318"/>
                <a:gd name="T67" fmla="*/ 180 h 218"/>
                <a:gd name="T68" fmla="*/ 256 w 318"/>
                <a:gd name="T69" fmla="*/ 200 h 218"/>
                <a:gd name="T70" fmla="*/ 256 w 318"/>
                <a:gd name="T71" fmla="*/ 200 h 218"/>
                <a:gd name="T72" fmla="*/ 236 w 318"/>
                <a:gd name="T73" fmla="*/ 218 h 218"/>
                <a:gd name="T74" fmla="*/ 222 w 318"/>
                <a:gd name="T75" fmla="*/ 218 h 218"/>
                <a:gd name="T76" fmla="*/ 210 w 318"/>
                <a:gd name="T77" fmla="*/ 206 h 218"/>
                <a:gd name="T78" fmla="*/ 222 w 318"/>
                <a:gd name="T79" fmla="*/ 200 h 218"/>
                <a:gd name="T80" fmla="*/ 236 w 318"/>
                <a:gd name="T81" fmla="*/ 180 h 218"/>
                <a:gd name="T82" fmla="*/ 244 w 318"/>
                <a:gd name="T83" fmla="*/ 164 h 218"/>
                <a:gd name="T84" fmla="*/ 228 w 318"/>
                <a:gd name="T85" fmla="*/ 154 h 218"/>
                <a:gd name="T86" fmla="*/ 216 w 318"/>
                <a:gd name="T87" fmla="*/ 164 h 218"/>
                <a:gd name="T88" fmla="*/ 204 w 318"/>
                <a:gd name="T89" fmla="*/ 154 h 218"/>
                <a:gd name="T90" fmla="*/ 188 w 318"/>
                <a:gd name="T91" fmla="*/ 138 h 218"/>
                <a:gd name="T92" fmla="*/ 176 w 318"/>
                <a:gd name="T93" fmla="*/ 130 h 218"/>
                <a:gd name="T94" fmla="*/ 160 w 318"/>
                <a:gd name="T95" fmla="*/ 120 h 218"/>
                <a:gd name="T96" fmla="*/ 150 w 318"/>
                <a:gd name="T97" fmla="*/ 112 h 218"/>
                <a:gd name="T98" fmla="*/ 128 w 318"/>
                <a:gd name="T99" fmla="*/ 104 h 218"/>
                <a:gd name="T100" fmla="*/ 116 w 318"/>
                <a:gd name="T101" fmla="*/ 104 h 218"/>
                <a:gd name="T102" fmla="*/ 102 w 318"/>
                <a:gd name="T103" fmla="*/ 98 h 218"/>
                <a:gd name="T104" fmla="*/ 88 w 318"/>
                <a:gd name="T105" fmla="*/ 88 h 218"/>
                <a:gd name="T106" fmla="*/ 74 w 318"/>
                <a:gd name="T107" fmla="*/ 78 h 218"/>
                <a:gd name="T108" fmla="*/ 52 w 318"/>
                <a:gd name="T109" fmla="*/ 78 h 218"/>
                <a:gd name="T110" fmla="*/ 40 w 318"/>
                <a:gd name="T111" fmla="*/ 78 h 218"/>
                <a:gd name="T112" fmla="*/ 26 w 318"/>
                <a:gd name="T113" fmla="*/ 78 h 218"/>
                <a:gd name="T114" fmla="*/ 12 w 318"/>
                <a:gd name="T115" fmla="*/ 70 h 218"/>
                <a:gd name="T116" fmla="*/ 0 w 318"/>
                <a:gd name="T117" fmla="*/ 62 h 218"/>
                <a:gd name="T118" fmla="*/ 8 w 318"/>
                <a:gd name="T119" fmla="*/ 44 h 218"/>
                <a:gd name="T120" fmla="*/ 8 w 318"/>
                <a:gd name="T121" fmla="*/ 28 h 218"/>
                <a:gd name="T122" fmla="*/ 10 w 318"/>
                <a:gd name="T123" fmla="*/ 18 h 218"/>
                <a:gd name="T124" fmla="*/ 6 w 318"/>
                <a:gd name="T125" fmla="*/ 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8" h="218">
                  <a:moveTo>
                    <a:pt x="6" y="18"/>
                  </a:moveTo>
                  <a:lnTo>
                    <a:pt x="20" y="18"/>
                  </a:lnTo>
                  <a:lnTo>
                    <a:pt x="34" y="18"/>
                  </a:lnTo>
                  <a:lnTo>
                    <a:pt x="46" y="26"/>
                  </a:lnTo>
                  <a:lnTo>
                    <a:pt x="60" y="36"/>
                  </a:lnTo>
                  <a:lnTo>
                    <a:pt x="74" y="36"/>
                  </a:lnTo>
                  <a:lnTo>
                    <a:pt x="88" y="26"/>
                  </a:lnTo>
                  <a:lnTo>
                    <a:pt x="102" y="26"/>
                  </a:lnTo>
                  <a:lnTo>
                    <a:pt x="116" y="26"/>
                  </a:lnTo>
                  <a:lnTo>
                    <a:pt x="128" y="36"/>
                  </a:lnTo>
                  <a:lnTo>
                    <a:pt x="134" y="36"/>
                  </a:lnTo>
                  <a:lnTo>
                    <a:pt x="148" y="42"/>
                  </a:lnTo>
                  <a:lnTo>
                    <a:pt x="160" y="42"/>
                  </a:lnTo>
                  <a:lnTo>
                    <a:pt x="176" y="36"/>
                  </a:lnTo>
                  <a:lnTo>
                    <a:pt x="176" y="18"/>
                  </a:lnTo>
                  <a:lnTo>
                    <a:pt x="188" y="18"/>
                  </a:lnTo>
                  <a:lnTo>
                    <a:pt x="202" y="10"/>
                  </a:lnTo>
                  <a:lnTo>
                    <a:pt x="216" y="0"/>
                  </a:lnTo>
                  <a:lnTo>
                    <a:pt x="228" y="10"/>
                  </a:lnTo>
                  <a:lnTo>
                    <a:pt x="250" y="18"/>
                  </a:lnTo>
                  <a:lnTo>
                    <a:pt x="270" y="18"/>
                  </a:lnTo>
                  <a:lnTo>
                    <a:pt x="278" y="10"/>
                  </a:lnTo>
                  <a:lnTo>
                    <a:pt x="290" y="0"/>
                  </a:lnTo>
                  <a:lnTo>
                    <a:pt x="306" y="10"/>
                  </a:lnTo>
                  <a:lnTo>
                    <a:pt x="312" y="28"/>
                  </a:lnTo>
                  <a:lnTo>
                    <a:pt x="318" y="44"/>
                  </a:lnTo>
                  <a:lnTo>
                    <a:pt x="312" y="62"/>
                  </a:lnTo>
                  <a:lnTo>
                    <a:pt x="318" y="78"/>
                  </a:lnTo>
                  <a:lnTo>
                    <a:pt x="318" y="98"/>
                  </a:lnTo>
                  <a:lnTo>
                    <a:pt x="312" y="112"/>
                  </a:lnTo>
                  <a:lnTo>
                    <a:pt x="306" y="130"/>
                  </a:lnTo>
                  <a:lnTo>
                    <a:pt x="306" y="148"/>
                  </a:lnTo>
                  <a:lnTo>
                    <a:pt x="290" y="172"/>
                  </a:lnTo>
                  <a:lnTo>
                    <a:pt x="278" y="180"/>
                  </a:lnTo>
                  <a:lnTo>
                    <a:pt x="256" y="200"/>
                  </a:lnTo>
                  <a:lnTo>
                    <a:pt x="256" y="200"/>
                  </a:lnTo>
                  <a:lnTo>
                    <a:pt x="236" y="218"/>
                  </a:lnTo>
                  <a:lnTo>
                    <a:pt x="222" y="218"/>
                  </a:lnTo>
                  <a:lnTo>
                    <a:pt x="210" y="206"/>
                  </a:lnTo>
                  <a:lnTo>
                    <a:pt x="222" y="200"/>
                  </a:lnTo>
                  <a:lnTo>
                    <a:pt x="236" y="180"/>
                  </a:lnTo>
                  <a:lnTo>
                    <a:pt x="244" y="164"/>
                  </a:lnTo>
                  <a:lnTo>
                    <a:pt x="228" y="154"/>
                  </a:lnTo>
                  <a:lnTo>
                    <a:pt x="216" y="164"/>
                  </a:lnTo>
                  <a:lnTo>
                    <a:pt x="204" y="154"/>
                  </a:lnTo>
                  <a:lnTo>
                    <a:pt x="188" y="138"/>
                  </a:lnTo>
                  <a:lnTo>
                    <a:pt x="176" y="130"/>
                  </a:lnTo>
                  <a:lnTo>
                    <a:pt x="160" y="120"/>
                  </a:lnTo>
                  <a:lnTo>
                    <a:pt x="150" y="112"/>
                  </a:lnTo>
                  <a:lnTo>
                    <a:pt x="128" y="104"/>
                  </a:lnTo>
                  <a:lnTo>
                    <a:pt x="116" y="104"/>
                  </a:lnTo>
                  <a:lnTo>
                    <a:pt x="102" y="98"/>
                  </a:lnTo>
                  <a:lnTo>
                    <a:pt x="88" y="88"/>
                  </a:lnTo>
                  <a:lnTo>
                    <a:pt x="74" y="78"/>
                  </a:lnTo>
                  <a:lnTo>
                    <a:pt x="52" y="78"/>
                  </a:lnTo>
                  <a:lnTo>
                    <a:pt x="40" y="78"/>
                  </a:lnTo>
                  <a:lnTo>
                    <a:pt x="26" y="78"/>
                  </a:lnTo>
                  <a:lnTo>
                    <a:pt x="12" y="70"/>
                  </a:lnTo>
                  <a:lnTo>
                    <a:pt x="0" y="62"/>
                  </a:lnTo>
                  <a:lnTo>
                    <a:pt x="8" y="44"/>
                  </a:lnTo>
                  <a:lnTo>
                    <a:pt x="8" y="28"/>
                  </a:lnTo>
                  <a:lnTo>
                    <a:pt x="1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79"/>
            <p:cNvSpPr>
              <a:spLocks/>
            </p:cNvSpPr>
            <p:nvPr/>
          </p:nvSpPr>
          <p:spPr bwMode="auto">
            <a:xfrm>
              <a:off x="2471517" y="4791053"/>
              <a:ext cx="475353" cy="325871"/>
            </a:xfrm>
            <a:custGeom>
              <a:avLst/>
              <a:gdLst>
                <a:gd name="T0" fmla="*/ 6 w 318"/>
                <a:gd name="T1" fmla="*/ 18 h 218"/>
                <a:gd name="T2" fmla="*/ 20 w 318"/>
                <a:gd name="T3" fmla="*/ 18 h 218"/>
                <a:gd name="T4" fmla="*/ 34 w 318"/>
                <a:gd name="T5" fmla="*/ 18 h 218"/>
                <a:gd name="T6" fmla="*/ 46 w 318"/>
                <a:gd name="T7" fmla="*/ 26 h 218"/>
                <a:gd name="T8" fmla="*/ 60 w 318"/>
                <a:gd name="T9" fmla="*/ 36 h 218"/>
                <a:gd name="T10" fmla="*/ 74 w 318"/>
                <a:gd name="T11" fmla="*/ 36 h 218"/>
                <a:gd name="T12" fmla="*/ 88 w 318"/>
                <a:gd name="T13" fmla="*/ 26 h 218"/>
                <a:gd name="T14" fmla="*/ 102 w 318"/>
                <a:gd name="T15" fmla="*/ 26 h 218"/>
                <a:gd name="T16" fmla="*/ 116 w 318"/>
                <a:gd name="T17" fmla="*/ 26 h 218"/>
                <a:gd name="T18" fmla="*/ 128 w 318"/>
                <a:gd name="T19" fmla="*/ 36 h 218"/>
                <a:gd name="T20" fmla="*/ 134 w 318"/>
                <a:gd name="T21" fmla="*/ 36 h 218"/>
                <a:gd name="T22" fmla="*/ 148 w 318"/>
                <a:gd name="T23" fmla="*/ 42 h 218"/>
                <a:gd name="T24" fmla="*/ 160 w 318"/>
                <a:gd name="T25" fmla="*/ 42 h 218"/>
                <a:gd name="T26" fmla="*/ 176 w 318"/>
                <a:gd name="T27" fmla="*/ 36 h 218"/>
                <a:gd name="T28" fmla="*/ 176 w 318"/>
                <a:gd name="T29" fmla="*/ 18 h 218"/>
                <a:gd name="T30" fmla="*/ 188 w 318"/>
                <a:gd name="T31" fmla="*/ 18 h 218"/>
                <a:gd name="T32" fmla="*/ 202 w 318"/>
                <a:gd name="T33" fmla="*/ 10 h 218"/>
                <a:gd name="T34" fmla="*/ 216 w 318"/>
                <a:gd name="T35" fmla="*/ 0 h 218"/>
                <a:gd name="T36" fmla="*/ 228 w 318"/>
                <a:gd name="T37" fmla="*/ 10 h 218"/>
                <a:gd name="T38" fmla="*/ 250 w 318"/>
                <a:gd name="T39" fmla="*/ 18 h 218"/>
                <a:gd name="T40" fmla="*/ 270 w 318"/>
                <a:gd name="T41" fmla="*/ 18 h 218"/>
                <a:gd name="T42" fmla="*/ 278 w 318"/>
                <a:gd name="T43" fmla="*/ 10 h 218"/>
                <a:gd name="T44" fmla="*/ 290 w 318"/>
                <a:gd name="T45" fmla="*/ 0 h 218"/>
                <a:gd name="T46" fmla="*/ 306 w 318"/>
                <a:gd name="T47" fmla="*/ 10 h 218"/>
                <a:gd name="T48" fmla="*/ 312 w 318"/>
                <a:gd name="T49" fmla="*/ 28 h 218"/>
                <a:gd name="T50" fmla="*/ 318 w 318"/>
                <a:gd name="T51" fmla="*/ 44 h 218"/>
                <a:gd name="T52" fmla="*/ 312 w 318"/>
                <a:gd name="T53" fmla="*/ 62 h 218"/>
                <a:gd name="T54" fmla="*/ 318 w 318"/>
                <a:gd name="T55" fmla="*/ 78 h 218"/>
                <a:gd name="T56" fmla="*/ 318 w 318"/>
                <a:gd name="T57" fmla="*/ 98 h 218"/>
                <a:gd name="T58" fmla="*/ 312 w 318"/>
                <a:gd name="T59" fmla="*/ 112 h 218"/>
                <a:gd name="T60" fmla="*/ 306 w 318"/>
                <a:gd name="T61" fmla="*/ 130 h 218"/>
                <a:gd name="T62" fmla="*/ 306 w 318"/>
                <a:gd name="T63" fmla="*/ 148 h 218"/>
                <a:gd name="T64" fmla="*/ 290 w 318"/>
                <a:gd name="T65" fmla="*/ 172 h 218"/>
                <a:gd name="T66" fmla="*/ 278 w 318"/>
                <a:gd name="T67" fmla="*/ 180 h 218"/>
                <a:gd name="T68" fmla="*/ 256 w 318"/>
                <a:gd name="T69" fmla="*/ 200 h 218"/>
                <a:gd name="T70" fmla="*/ 256 w 318"/>
                <a:gd name="T71" fmla="*/ 200 h 218"/>
                <a:gd name="T72" fmla="*/ 236 w 318"/>
                <a:gd name="T73" fmla="*/ 218 h 218"/>
                <a:gd name="T74" fmla="*/ 222 w 318"/>
                <a:gd name="T75" fmla="*/ 218 h 218"/>
                <a:gd name="T76" fmla="*/ 210 w 318"/>
                <a:gd name="T77" fmla="*/ 206 h 218"/>
                <a:gd name="T78" fmla="*/ 222 w 318"/>
                <a:gd name="T79" fmla="*/ 200 h 218"/>
                <a:gd name="T80" fmla="*/ 236 w 318"/>
                <a:gd name="T81" fmla="*/ 180 h 218"/>
                <a:gd name="T82" fmla="*/ 244 w 318"/>
                <a:gd name="T83" fmla="*/ 164 h 218"/>
                <a:gd name="T84" fmla="*/ 228 w 318"/>
                <a:gd name="T85" fmla="*/ 154 h 218"/>
                <a:gd name="T86" fmla="*/ 216 w 318"/>
                <a:gd name="T87" fmla="*/ 164 h 218"/>
                <a:gd name="T88" fmla="*/ 204 w 318"/>
                <a:gd name="T89" fmla="*/ 154 h 218"/>
                <a:gd name="T90" fmla="*/ 188 w 318"/>
                <a:gd name="T91" fmla="*/ 138 h 218"/>
                <a:gd name="T92" fmla="*/ 176 w 318"/>
                <a:gd name="T93" fmla="*/ 130 h 218"/>
                <a:gd name="T94" fmla="*/ 160 w 318"/>
                <a:gd name="T95" fmla="*/ 120 h 218"/>
                <a:gd name="T96" fmla="*/ 150 w 318"/>
                <a:gd name="T97" fmla="*/ 112 h 218"/>
                <a:gd name="T98" fmla="*/ 128 w 318"/>
                <a:gd name="T99" fmla="*/ 104 h 218"/>
                <a:gd name="T100" fmla="*/ 116 w 318"/>
                <a:gd name="T101" fmla="*/ 104 h 218"/>
                <a:gd name="T102" fmla="*/ 102 w 318"/>
                <a:gd name="T103" fmla="*/ 98 h 218"/>
                <a:gd name="T104" fmla="*/ 88 w 318"/>
                <a:gd name="T105" fmla="*/ 88 h 218"/>
                <a:gd name="T106" fmla="*/ 74 w 318"/>
                <a:gd name="T107" fmla="*/ 78 h 218"/>
                <a:gd name="T108" fmla="*/ 52 w 318"/>
                <a:gd name="T109" fmla="*/ 78 h 218"/>
                <a:gd name="T110" fmla="*/ 40 w 318"/>
                <a:gd name="T111" fmla="*/ 78 h 218"/>
                <a:gd name="T112" fmla="*/ 26 w 318"/>
                <a:gd name="T113" fmla="*/ 78 h 218"/>
                <a:gd name="T114" fmla="*/ 12 w 318"/>
                <a:gd name="T115" fmla="*/ 70 h 218"/>
                <a:gd name="T116" fmla="*/ 0 w 318"/>
                <a:gd name="T117" fmla="*/ 62 h 218"/>
                <a:gd name="T118" fmla="*/ 8 w 318"/>
                <a:gd name="T119" fmla="*/ 44 h 218"/>
                <a:gd name="T120" fmla="*/ 8 w 318"/>
                <a:gd name="T121" fmla="*/ 28 h 218"/>
                <a:gd name="T122" fmla="*/ 10 w 318"/>
                <a:gd name="T123" fmla="*/ 18 h 218"/>
                <a:gd name="T124" fmla="*/ 6 w 318"/>
                <a:gd name="T125" fmla="*/ 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8" h="218">
                  <a:moveTo>
                    <a:pt x="6" y="18"/>
                  </a:moveTo>
                  <a:lnTo>
                    <a:pt x="20" y="18"/>
                  </a:lnTo>
                  <a:lnTo>
                    <a:pt x="34" y="18"/>
                  </a:lnTo>
                  <a:lnTo>
                    <a:pt x="46" y="26"/>
                  </a:lnTo>
                  <a:lnTo>
                    <a:pt x="60" y="36"/>
                  </a:lnTo>
                  <a:lnTo>
                    <a:pt x="74" y="36"/>
                  </a:lnTo>
                  <a:lnTo>
                    <a:pt x="88" y="26"/>
                  </a:lnTo>
                  <a:lnTo>
                    <a:pt x="102" y="26"/>
                  </a:lnTo>
                  <a:lnTo>
                    <a:pt x="116" y="26"/>
                  </a:lnTo>
                  <a:lnTo>
                    <a:pt x="128" y="36"/>
                  </a:lnTo>
                  <a:lnTo>
                    <a:pt x="134" y="36"/>
                  </a:lnTo>
                  <a:lnTo>
                    <a:pt x="148" y="42"/>
                  </a:lnTo>
                  <a:lnTo>
                    <a:pt x="160" y="42"/>
                  </a:lnTo>
                  <a:lnTo>
                    <a:pt x="176" y="36"/>
                  </a:lnTo>
                  <a:lnTo>
                    <a:pt x="176" y="18"/>
                  </a:lnTo>
                  <a:lnTo>
                    <a:pt x="188" y="18"/>
                  </a:lnTo>
                  <a:lnTo>
                    <a:pt x="202" y="10"/>
                  </a:lnTo>
                  <a:lnTo>
                    <a:pt x="216" y="0"/>
                  </a:lnTo>
                  <a:lnTo>
                    <a:pt x="228" y="10"/>
                  </a:lnTo>
                  <a:lnTo>
                    <a:pt x="250" y="18"/>
                  </a:lnTo>
                  <a:lnTo>
                    <a:pt x="270" y="18"/>
                  </a:lnTo>
                  <a:lnTo>
                    <a:pt x="278" y="10"/>
                  </a:lnTo>
                  <a:lnTo>
                    <a:pt x="290" y="0"/>
                  </a:lnTo>
                  <a:lnTo>
                    <a:pt x="306" y="10"/>
                  </a:lnTo>
                  <a:lnTo>
                    <a:pt x="312" y="28"/>
                  </a:lnTo>
                  <a:lnTo>
                    <a:pt x="318" y="44"/>
                  </a:lnTo>
                  <a:lnTo>
                    <a:pt x="312" y="62"/>
                  </a:lnTo>
                  <a:lnTo>
                    <a:pt x="318" y="78"/>
                  </a:lnTo>
                  <a:lnTo>
                    <a:pt x="318" y="98"/>
                  </a:lnTo>
                  <a:lnTo>
                    <a:pt x="312" y="112"/>
                  </a:lnTo>
                  <a:lnTo>
                    <a:pt x="306" y="130"/>
                  </a:lnTo>
                  <a:lnTo>
                    <a:pt x="306" y="148"/>
                  </a:lnTo>
                  <a:lnTo>
                    <a:pt x="290" y="172"/>
                  </a:lnTo>
                  <a:lnTo>
                    <a:pt x="278" y="180"/>
                  </a:lnTo>
                  <a:lnTo>
                    <a:pt x="256" y="200"/>
                  </a:lnTo>
                  <a:lnTo>
                    <a:pt x="256" y="200"/>
                  </a:lnTo>
                  <a:lnTo>
                    <a:pt x="236" y="218"/>
                  </a:lnTo>
                  <a:lnTo>
                    <a:pt x="222" y="218"/>
                  </a:lnTo>
                  <a:lnTo>
                    <a:pt x="210" y="206"/>
                  </a:lnTo>
                  <a:lnTo>
                    <a:pt x="222" y="200"/>
                  </a:lnTo>
                  <a:lnTo>
                    <a:pt x="236" y="180"/>
                  </a:lnTo>
                  <a:lnTo>
                    <a:pt x="244" y="164"/>
                  </a:lnTo>
                  <a:lnTo>
                    <a:pt x="228" y="154"/>
                  </a:lnTo>
                  <a:lnTo>
                    <a:pt x="216" y="164"/>
                  </a:lnTo>
                  <a:lnTo>
                    <a:pt x="204" y="154"/>
                  </a:lnTo>
                  <a:lnTo>
                    <a:pt x="188" y="138"/>
                  </a:lnTo>
                  <a:lnTo>
                    <a:pt x="176" y="130"/>
                  </a:lnTo>
                  <a:lnTo>
                    <a:pt x="160" y="120"/>
                  </a:lnTo>
                  <a:lnTo>
                    <a:pt x="150" y="112"/>
                  </a:lnTo>
                  <a:lnTo>
                    <a:pt x="128" y="104"/>
                  </a:lnTo>
                  <a:lnTo>
                    <a:pt x="116" y="104"/>
                  </a:lnTo>
                  <a:lnTo>
                    <a:pt x="102" y="98"/>
                  </a:lnTo>
                  <a:lnTo>
                    <a:pt x="88" y="88"/>
                  </a:lnTo>
                  <a:lnTo>
                    <a:pt x="74" y="78"/>
                  </a:lnTo>
                  <a:lnTo>
                    <a:pt x="52" y="78"/>
                  </a:lnTo>
                  <a:lnTo>
                    <a:pt x="40" y="78"/>
                  </a:lnTo>
                  <a:lnTo>
                    <a:pt x="26" y="78"/>
                  </a:lnTo>
                  <a:lnTo>
                    <a:pt x="12" y="70"/>
                  </a:lnTo>
                  <a:lnTo>
                    <a:pt x="0" y="62"/>
                  </a:lnTo>
                  <a:lnTo>
                    <a:pt x="8" y="44"/>
                  </a:lnTo>
                  <a:lnTo>
                    <a:pt x="8" y="28"/>
                  </a:lnTo>
                  <a:lnTo>
                    <a:pt x="10" y="18"/>
                  </a:lnTo>
                  <a:lnTo>
                    <a:pt x="6" y="18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80"/>
            <p:cNvSpPr>
              <a:spLocks/>
            </p:cNvSpPr>
            <p:nvPr/>
          </p:nvSpPr>
          <p:spPr bwMode="auto">
            <a:xfrm>
              <a:off x="2157605" y="4883732"/>
              <a:ext cx="693597" cy="645762"/>
            </a:xfrm>
            <a:custGeom>
              <a:avLst/>
              <a:gdLst>
                <a:gd name="T0" fmla="*/ 444 w 464"/>
                <a:gd name="T1" fmla="*/ 156 h 432"/>
                <a:gd name="T2" fmla="*/ 416 w 464"/>
                <a:gd name="T3" fmla="*/ 146 h 432"/>
                <a:gd name="T4" fmla="*/ 444 w 464"/>
                <a:gd name="T5" fmla="*/ 120 h 432"/>
                <a:gd name="T6" fmla="*/ 436 w 464"/>
                <a:gd name="T7" fmla="*/ 92 h 432"/>
                <a:gd name="T8" fmla="*/ 412 w 464"/>
                <a:gd name="T9" fmla="*/ 92 h 432"/>
                <a:gd name="T10" fmla="*/ 384 w 464"/>
                <a:gd name="T11" fmla="*/ 68 h 432"/>
                <a:gd name="T12" fmla="*/ 358 w 464"/>
                <a:gd name="T13" fmla="*/ 50 h 432"/>
                <a:gd name="T14" fmla="*/ 322 w 464"/>
                <a:gd name="T15" fmla="*/ 42 h 432"/>
                <a:gd name="T16" fmla="*/ 298 w 464"/>
                <a:gd name="T17" fmla="*/ 26 h 432"/>
                <a:gd name="T18" fmla="*/ 262 w 464"/>
                <a:gd name="T19" fmla="*/ 16 h 432"/>
                <a:gd name="T20" fmla="*/ 236 w 464"/>
                <a:gd name="T21" fmla="*/ 16 h 432"/>
                <a:gd name="T22" fmla="*/ 208 w 464"/>
                <a:gd name="T23" fmla="*/ 0 h 432"/>
                <a:gd name="T24" fmla="*/ 188 w 464"/>
                <a:gd name="T25" fmla="*/ 16 h 432"/>
                <a:gd name="T26" fmla="*/ 160 w 464"/>
                <a:gd name="T27" fmla="*/ 26 h 432"/>
                <a:gd name="T28" fmla="*/ 136 w 464"/>
                <a:gd name="T29" fmla="*/ 50 h 432"/>
                <a:gd name="T30" fmla="*/ 106 w 464"/>
                <a:gd name="T31" fmla="*/ 76 h 432"/>
                <a:gd name="T32" fmla="*/ 80 w 464"/>
                <a:gd name="T33" fmla="*/ 112 h 432"/>
                <a:gd name="T34" fmla="*/ 52 w 464"/>
                <a:gd name="T35" fmla="*/ 146 h 432"/>
                <a:gd name="T36" fmla="*/ 20 w 464"/>
                <a:gd name="T37" fmla="*/ 188 h 432"/>
                <a:gd name="T38" fmla="*/ 0 w 464"/>
                <a:gd name="T39" fmla="*/ 224 h 432"/>
                <a:gd name="T40" fmla="*/ 26 w 464"/>
                <a:gd name="T41" fmla="*/ 216 h 432"/>
                <a:gd name="T42" fmla="*/ 60 w 464"/>
                <a:gd name="T43" fmla="*/ 216 h 432"/>
                <a:gd name="T44" fmla="*/ 88 w 464"/>
                <a:gd name="T45" fmla="*/ 250 h 432"/>
                <a:gd name="T46" fmla="*/ 112 w 464"/>
                <a:gd name="T47" fmla="*/ 260 h 432"/>
                <a:gd name="T48" fmla="*/ 140 w 464"/>
                <a:gd name="T49" fmla="*/ 276 h 432"/>
                <a:gd name="T50" fmla="*/ 168 w 464"/>
                <a:gd name="T51" fmla="*/ 292 h 432"/>
                <a:gd name="T52" fmla="*/ 196 w 464"/>
                <a:gd name="T53" fmla="*/ 310 h 432"/>
                <a:gd name="T54" fmla="*/ 220 w 464"/>
                <a:gd name="T55" fmla="*/ 344 h 432"/>
                <a:gd name="T56" fmla="*/ 250 w 464"/>
                <a:gd name="T57" fmla="*/ 372 h 432"/>
                <a:gd name="T58" fmla="*/ 242 w 464"/>
                <a:gd name="T59" fmla="*/ 398 h 432"/>
                <a:gd name="T60" fmla="*/ 236 w 464"/>
                <a:gd name="T61" fmla="*/ 432 h 432"/>
                <a:gd name="T62" fmla="*/ 262 w 464"/>
                <a:gd name="T63" fmla="*/ 422 h 432"/>
                <a:gd name="T64" fmla="*/ 290 w 464"/>
                <a:gd name="T65" fmla="*/ 398 h 432"/>
                <a:gd name="T66" fmla="*/ 302 w 464"/>
                <a:gd name="T67" fmla="*/ 362 h 432"/>
                <a:gd name="T68" fmla="*/ 322 w 464"/>
                <a:gd name="T69" fmla="*/ 338 h 432"/>
                <a:gd name="T70" fmla="*/ 350 w 464"/>
                <a:gd name="T71" fmla="*/ 310 h 432"/>
                <a:gd name="T72" fmla="*/ 378 w 464"/>
                <a:gd name="T73" fmla="*/ 286 h 432"/>
                <a:gd name="T74" fmla="*/ 402 w 464"/>
                <a:gd name="T75" fmla="*/ 260 h 432"/>
                <a:gd name="T76" fmla="*/ 416 w 464"/>
                <a:gd name="T77" fmla="*/ 216 h 432"/>
                <a:gd name="T78" fmla="*/ 444 w 464"/>
                <a:gd name="T79" fmla="*/ 172 h 432"/>
                <a:gd name="T80" fmla="*/ 464 w 464"/>
                <a:gd name="T81" fmla="*/ 14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4" h="432">
                  <a:moveTo>
                    <a:pt x="464" y="142"/>
                  </a:moveTo>
                  <a:lnTo>
                    <a:pt x="444" y="156"/>
                  </a:lnTo>
                  <a:lnTo>
                    <a:pt x="430" y="156"/>
                  </a:lnTo>
                  <a:lnTo>
                    <a:pt x="416" y="146"/>
                  </a:lnTo>
                  <a:lnTo>
                    <a:pt x="430" y="138"/>
                  </a:lnTo>
                  <a:lnTo>
                    <a:pt x="444" y="120"/>
                  </a:lnTo>
                  <a:lnTo>
                    <a:pt x="452" y="104"/>
                  </a:lnTo>
                  <a:lnTo>
                    <a:pt x="436" y="92"/>
                  </a:lnTo>
                  <a:lnTo>
                    <a:pt x="424" y="104"/>
                  </a:lnTo>
                  <a:lnTo>
                    <a:pt x="412" y="92"/>
                  </a:lnTo>
                  <a:lnTo>
                    <a:pt x="396" y="76"/>
                  </a:lnTo>
                  <a:lnTo>
                    <a:pt x="384" y="68"/>
                  </a:lnTo>
                  <a:lnTo>
                    <a:pt x="370" y="60"/>
                  </a:lnTo>
                  <a:lnTo>
                    <a:pt x="358" y="50"/>
                  </a:lnTo>
                  <a:lnTo>
                    <a:pt x="338" y="42"/>
                  </a:lnTo>
                  <a:lnTo>
                    <a:pt x="322" y="42"/>
                  </a:lnTo>
                  <a:lnTo>
                    <a:pt x="310" y="36"/>
                  </a:lnTo>
                  <a:lnTo>
                    <a:pt x="298" y="26"/>
                  </a:lnTo>
                  <a:lnTo>
                    <a:pt x="282" y="16"/>
                  </a:lnTo>
                  <a:lnTo>
                    <a:pt x="262" y="16"/>
                  </a:lnTo>
                  <a:lnTo>
                    <a:pt x="250" y="16"/>
                  </a:lnTo>
                  <a:lnTo>
                    <a:pt x="236" y="16"/>
                  </a:lnTo>
                  <a:lnTo>
                    <a:pt x="220" y="8"/>
                  </a:lnTo>
                  <a:lnTo>
                    <a:pt x="208" y="0"/>
                  </a:lnTo>
                  <a:lnTo>
                    <a:pt x="202" y="8"/>
                  </a:lnTo>
                  <a:lnTo>
                    <a:pt x="188" y="16"/>
                  </a:lnTo>
                  <a:lnTo>
                    <a:pt x="174" y="16"/>
                  </a:lnTo>
                  <a:lnTo>
                    <a:pt x="160" y="26"/>
                  </a:lnTo>
                  <a:lnTo>
                    <a:pt x="148" y="42"/>
                  </a:lnTo>
                  <a:lnTo>
                    <a:pt x="136" y="50"/>
                  </a:lnTo>
                  <a:lnTo>
                    <a:pt x="120" y="68"/>
                  </a:lnTo>
                  <a:lnTo>
                    <a:pt x="106" y="76"/>
                  </a:lnTo>
                  <a:lnTo>
                    <a:pt x="94" y="92"/>
                  </a:lnTo>
                  <a:lnTo>
                    <a:pt x="80" y="112"/>
                  </a:lnTo>
                  <a:lnTo>
                    <a:pt x="68" y="128"/>
                  </a:lnTo>
                  <a:lnTo>
                    <a:pt x="52" y="146"/>
                  </a:lnTo>
                  <a:lnTo>
                    <a:pt x="40" y="164"/>
                  </a:lnTo>
                  <a:lnTo>
                    <a:pt x="20" y="188"/>
                  </a:lnTo>
                  <a:lnTo>
                    <a:pt x="6" y="208"/>
                  </a:lnTo>
                  <a:lnTo>
                    <a:pt x="0" y="224"/>
                  </a:lnTo>
                  <a:lnTo>
                    <a:pt x="14" y="224"/>
                  </a:lnTo>
                  <a:lnTo>
                    <a:pt x="26" y="216"/>
                  </a:lnTo>
                  <a:lnTo>
                    <a:pt x="40" y="208"/>
                  </a:lnTo>
                  <a:lnTo>
                    <a:pt x="60" y="216"/>
                  </a:lnTo>
                  <a:lnTo>
                    <a:pt x="74" y="224"/>
                  </a:lnTo>
                  <a:lnTo>
                    <a:pt x="88" y="250"/>
                  </a:lnTo>
                  <a:lnTo>
                    <a:pt x="98" y="260"/>
                  </a:lnTo>
                  <a:lnTo>
                    <a:pt x="112" y="260"/>
                  </a:lnTo>
                  <a:lnTo>
                    <a:pt x="128" y="266"/>
                  </a:lnTo>
                  <a:lnTo>
                    <a:pt x="140" y="276"/>
                  </a:lnTo>
                  <a:lnTo>
                    <a:pt x="154" y="286"/>
                  </a:lnTo>
                  <a:lnTo>
                    <a:pt x="168" y="292"/>
                  </a:lnTo>
                  <a:lnTo>
                    <a:pt x="182" y="302"/>
                  </a:lnTo>
                  <a:lnTo>
                    <a:pt x="196" y="310"/>
                  </a:lnTo>
                  <a:lnTo>
                    <a:pt x="208" y="328"/>
                  </a:lnTo>
                  <a:lnTo>
                    <a:pt x="220" y="344"/>
                  </a:lnTo>
                  <a:lnTo>
                    <a:pt x="236" y="354"/>
                  </a:lnTo>
                  <a:lnTo>
                    <a:pt x="250" y="372"/>
                  </a:lnTo>
                  <a:lnTo>
                    <a:pt x="256" y="390"/>
                  </a:lnTo>
                  <a:lnTo>
                    <a:pt x="242" y="398"/>
                  </a:lnTo>
                  <a:lnTo>
                    <a:pt x="236" y="414"/>
                  </a:lnTo>
                  <a:lnTo>
                    <a:pt x="236" y="432"/>
                  </a:lnTo>
                  <a:lnTo>
                    <a:pt x="250" y="432"/>
                  </a:lnTo>
                  <a:lnTo>
                    <a:pt x="262" y="422"/>
                  </a:lnTo>
                  <a:lnTo>
                    <a:pt x="276" y="414"/>
                  </a:lnTo>
                  <a:lnTo>
                    <a:pt x="290" y="398"/>
                  </a:lnTo>
                  <a:lnTo>
                    <a:pt x="298" y="380"/>
                  </a:lnTo>
                  <a:lnTo>
                    <a:pt x="302" y="362"/>
                  </a:lnTo>
                  <a:lnTo>
                    <a:pt x="310" y="344"/>
                  </a:lnTo>
                  <a:lnTo>
                    <a:pt x="322" y="338"/>
                  </a:lnTo>
                  <a:lnTo>
                    <a:pt x="338" y="318"/>
                  </a:lnTo>
                  <a:lnTo>
                    <a:pt x="350" y="310"/>
                  </a:lnTo>
                  <a:lnTo>
                    <a:pt x="364" y="302"/>
                  </a:lnTo>
                  <a:lnTo>
                    <a:pt x="378" y="286"/>
                  </a:lnTo>
                  <a:lnTo>
                    <a:pt x="392" y="276"/>
                  </a:lnTo>
                  <a:lnTo>
                    <a:pt x="402" y="260"/>
                  </a:lnTo>
                  <a:lnTo>
                    <a:pt x="412" y="242"/>
                  </a:lnTo>
                  <a:lnTo>
                    <a:pt x="416" y="216"/>
                  </a:lnTo>
                  <a:lnTo>
                    <a:pt x="424" y="198"/>
                  </a:lnTo>
                  <a:lnTo>
                    <a:pt x="444" y="172"/>
                  </a:lnTo>
                  <a:lnTo>
                    <a:pt x="458" y="156"/>
                  </a:lnTo>
                  <a:lnTo>
                    <a:pt x="464" y="142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81"/>
            <p:cNvSpPr>
              <a:spLocks/>
            </p:cNvSpPr>
            <p:nvPr/>
          </p:nvSpPr>
          <p:spPr bwMode="auto">
            <a:xfrm>
              <a:off x="2157605" y="4883732"/>
              <a:ext cx="693597" cy="645762"/>
            </a:xfrm>
            <a:custGeom>
              <a:avLst/>
              <a:gdLst>
                <a:gd name="T0" fmla="*/ 444 w 464"/>
                <a:gd name="T1" fmla="*/ 156 h 432"/>
                <a:gd name="T2" fmla="*/ 416 w 464"/>
                <a:gd name="T3" fmla="*/ 146 h 432"/>
                <a:gd name="T4" fmla="*/ 444 w 464"/>
                <a:gd name="T5" fmla="*/ 120 h 432"/>
                <a:gd name="T6" fmla="*/ 436 w 464"/>
                <a:gd name="T7" fmla="*/ 92 h 432"/>
                <a:gd name="T8" fmla="*/ 412 w 464"/>
                <a:gd name="T9" fmla="*/ 92 h 432"/>
                <a:gd name="T10" fmla="*/ 384 w 464"/>
                <a:gd name="T11" fmla="*/ 68 h 432"/>
                <a:gd name="T12" fmla="*/ 358 w 464"/>
                <a:gd name="T13" fmla="*/ 50 h 432"/>
                <a:gd name="T14" fmla="*/ 322 w 464"/>
                <a:gd name="T15" fmla="*/ 42 h 432"/>
                <a:gd name="T16" fmla="*/ 298 w 464"/>
                <a:gd name="T17" fmla="*/ 26 h 432"/>
                <a:gd name="T18" fmla="*/ 262 w 464"/>
                <a:gd name="T19" fmla="*/ 16 h 432"/>
                <a:gd name="T20" fmla="*/ 236 w 464"/>
                <a:gd name="T21" fmla="*/ 16 h 432"/>
                <a:gd name="T22" fmla="*/ 208 w 464"/>
                <a:gd name="T23" fmla="*/ 0 h 432"/>
                <a:gd name="T24" fmla="*/ 188 w 464"/>
                <a:gd name="T25" fmla="*/ 16 h 432"/>
                <a:gd name="T26" fmla="*/ 160 w 464"/>
                <a:gd name="T27" fmla="*/ 26 h 432"/>
                <a:gd name="T28" fmla="*/ 136 w 464"/>
                <a:gd name="T29" fmla="*/ 50 h 432"/>
                <a:gd name="T30" fmla="*/ 106 w 464"/>
                <a:gd name="T31" fmla="*/ 76 h 432"/>
                <a:gd name="T32" fmla="*/ 80 w 464"/>
                <a:gd name="T33" fmla="*/ 112 h 432"/>
                <a:gd name="T34" fmla="*/ 52 w 464"/>
                <a:gd name="T35" fmla="*/ 146 h 432"/>
                <a:gd name="T36" fmla="*/ 20 w 464"/>
                <a:gd name="T37" fmla="*/ 188 h 432"/>
                <a:gd name="T38" fmla="*/ 0 w 464"/>
                <a:gd name="T39" fmla="*/ 224 h 432"/>
                <a:gd name="T40" fmla="*/ 26 w 464"/>
                <a:gd name="T41" fmla="*/ 216 h 432"/>
                <a:gd name="T42" fmla="*/ 60 w 464"/>
                <a:gd name="T43" fmla="*/ 216 h 432"/>
                <a:gd name="T44" fmla="*/ 88 w 464"/>
                <a:gd name="T45" fmla="*/ 250 h 432"/>
                <a:gd name="T46" fmla="*/ 112 w 464"/>
                <a:gd name="T47" fmla="*/ 260 h 432"/>
                <a:gd name="T48" fmla="*/ 140 w 464"/>
                <a:gd name="T49" fmla="*/ 276 h 432"/>
                <a:gd name="T50" fmla="*/ 168 w 464"/>
                <a:gd name="T51" fmla="*/ 292 h 432"/>
                <a:gd name="T52" fmla="*/ 196 w 464"/>
                <a:gd name="T53" fmla="*/ 310 h 432"/>
                <a:gd name="T54" fmla="*/ 220 w 464"/>
                <a:gd name="T55" fmla="*/ 344 h 432"/>
                <a:gd name="T56" fmla="*/ 250 w 464"/>
                <a:gd name="T57" fmla="*/ 372 h 432"/>
                <a:gd name="T58" fmla="*/ 242 w 464"/>
                <a:gd name="T59" fmla="*/ 398 h 432"/>
                <a:gd name="T60" fmla="*/ 236 w 464"/>
                <a:gd name="T61" fmla="*/ 432 h 432"/>
                <a:gd name="T62" fmla="*/ 262 w 464"/>
                <a:gd name="T63" fmla="*/ 422 h 432"/>
                <a:gd name="T64" fmla="*/ 290 w 464"/>
                <a:gd name="T65" fmla="*/ 398 h 432"/>
                <a:gd name="T66" fmla="*/ 302 w 464"/>
                <a:gd name="T67" fmla="*/ 362 h 432"/>
                <a:gd name="T68" fmla="*/ 322 w 464"/>
                <a:gd name="T69" fmla="*/ 338 h 432"/>
                <a:gd name="T70" fmla="*/ 350 w 464"/>
                <a:gd name="T71" fmla="*/ 310 h 432"/>
                <a:gd name="T72" fmla="*/ 378 w 464"/>
                <a:gd name="T73" fmla="*/ 286 h 432"/>
                <a:gd name="T74" fmla="*/ 402 w 464"/>
                <a:gd name="T75" fmla="*/ 260 h 432"/>
                <a:gd name="T76" fmla="*/ 416 w 464"/>
                <a:gd name="T77" fmla="*/ 216 h 432"/>
                <a:gd name="T78" fmla="*/ 444 w 464"/>
                <a:gd name="T79" fmla="*/ 172 h 432"/>
                <a:gd name="T80" fmla="*/ 464 w 464"/>
                <a:gd name="T81" fmla="*/ 14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4" h="432">
                  <a:moveTo>
                    <a:pt x="464" y="142"/>
                  </a:moveTo>
                  <a:lnTo>
                    <a:pt x="444" y="156"/>
                  </a:lnTo>
                  <a:lnTo>
                    <a:pt x="430" y="156"/>
                  </a:lnTo>
                  <a:lnTo>
                    <a:pt x="416" y="146"/>
                  </a:lnTo>
                  <a:lnTo>
                    <a:pt x="430" y="138"/>
                  </a:lnTo>
                  <a:lnTo>
                    <a:pt x="444" y="120"/>
                  </a:lnTo>
                  <a:lnTo>
                    <a:pt x="452" y="104"/>
                  </a:lnTo>
                  <a:lnTo>
                    <a:pt x="436" y="92"/>
                  </a:lnTo>
                  <a:lnTo>
                    <a:pt x="424" y="104"/>
                  </a:lnTo>
                  <a:lnTo>
                    <a:pt x="412" y="92"/>
                  </a:lnTo>
                  <a:lnTo>
                    <a:pt x="396" y="76"/>
                  </a:lnTo>
                  <a:lnTo>
                    <a:pt x="384" y="68"/>
                  </a:lnTo>
                  <a:lnTo>
                    <a:pt x="370" y="60"/>
                  </a:lnTo>
                  <a:lnTo>
                    <a:pt x="358" y="50"/>
                  </a:lnTo>
                  <a:lnTo>
                    <a:pt x="338" y="42"/>
                  </a:lnTo>
                  <a:lnTo>
                    <a:pt x="322" y="42"/>
                  </a:lnTo>
                  <a:lnTo>
                    <a:pt x="310" y="36"/>
                  </a:lnTo>
                  <a:lnTo>
                    <a:pt x="298" y="26"/>
                  </a:lnTo>
                  <a:lnTo>
                    <a:pt x="282" y="16"/>
                  </a:lnTo>
                  <a:lnTo>
                    <a:pt x="262" y="16"/>
                  </a:lnTo>
                  <a:lnTo>
                    <a:pt x="250" y="16"/>
                  </a:lnTo>
                  <a:lnTo>
                    <a:pt x="236" y="16"/>
                  </a:lnTo>
                  <a:lnTo>
                    <a:pt x="220" y="8"/>
                  </a:lnTo>
                  <a:lnTo>
                    <a:pt x="208" y="0"/>
                  </a:lnTo>
                  <a:lnTo>
                    <a:pt x="202" y="8"/>
                  </a:lnTo>
                  <a:lnTo>
                    <a:pt x="188" y="16"/>
                  </a:lnTo>
                  <a:lnTo>
                    <a:pt x="174" y="16"/>
                  </a:lnTo>
                  <a:lnTo>
                    <a:pt x="160" y="26"/>
                  </a:lnTo>
                  <a:lnTo>
                    <a:pt x="148" y="42"/>
                  </a:lnTo>
                  <a:lnTo>
                    <a:pt x="136" y="50"/>
                  </a:lnTo>
                  <a:lnTo>
                    <a:pt x="120" y="68"/>
                  </a:lnTo>
                  <a:lnTo>
                    <a:pt x="106" y="76"/>
                  </a:lnTo>
                  <a:lnTo>
                    <a:pt x="94" y="92"/>
                  </a:lnTo>
                  <a:lnTo>
                    <a:pt x="80" y="112"/>
                  </a:lnTo>
                  <a:lnTo>
                    <a:pt x="68" y="128"/>
                  </a:lnTo>
                  <a:lnTo>
                    <a:pt x="52" y="146"/>
                  </a:lnTo>
                  <a:lnTo>
                    <a:pt x="40" y="164"/>
                  </a:lnTo>
                  <a:lnTo>
                    <a:pt x="20" y="188"/>
                  </a:lnTo>
                  <a:lnTo>
                    <a:pt x="6" y="208"/>
                  </a:lnTo>
                  <a:lnTo>
                    <a:pt x="0" y="224"/>
                  </a:lnTo>
                  <a:lnTo>
                    <a:pt x="14" y="224"/>
                  </a:lnTo>
                  <a:lnTo>
                    <a:pt x="26" y="216"/>
                  </a:lnTo>
                  <a:lnTo>
                    <a:pt x="40" y="208"/>
                  </a:lnTo>
                  <a:lnTo>
                    <a:pt x="60" y="216"/>
                  </a:lnTo>
                  <a:lnTo>
                    <a:pt x="74" y="224"/>
                  </a:lnTo>
                  <a:lnTo>
                    <a:pt x="88" y="250"/>
                  </a:lnTo>
                  <a:lnTo>
                    <a:pt x="98" y="260"/>
                  </a:lnTo>
                  <a:lnTo>
                    <a:pt x="112" y="260"/>
                  </a:lnTo>
                  <a:lnTo>
                    <a:pt x="128" y="266"/>
                  </a:lnTo>
                  <a:lnTo>
                    <a:pt x="140" y="276"/>
                  </a:lnTo>
                  <a:lnTo>
                    <a:pt x="154" y="286"/>
                  </a:lnTo>
                  <a:lnTo>
                    <a:pt x="168" y="292"/>
                  </a:lnTo>
                  <a:lnTo>
                    <a:pt x="182" y="302"/>
                  </a:lnTo>
                  <a:lnTo>
                    <a:pt x="196" y="310"/>
                  </a:lnTo>
                  <a:lnTo>
                    <a:pt x="208" y="328"/>
                  </a:lnTo>
                  <a:lnTo>
                    <a:pt x="220" y="344"/>
                  </a:lnTo>
                  <a:lnTo>
                    <a:pt x="236" y="354"/>
                  </a:lnTo>
                  <a:lnTo>
                    <a:pt x="250" y="372"/>
                  </a:lnTo>
                  <a:lnTo>
                    <a:pt x="256" y="390"/>
                  </a:lnTo>
                  <a:lnTo>
                    <a:pt x="242" y="398"/>
                  </a:lnTo>
                  <a:lnTo>
                    <a:pt x="236" y="414"/>
                  </a:lnTo>
                  <a:lnTo>
                    <a:pt x="236" y="432"/>
                  </a:lnTo>
                  <a:lnTo>
                    <a:pt x="250" y="432"/>
                  </a:lnTo>
                  <a:lnTo>
                    <a:pt x="262" y="422"/>
                  </a:lnTo>
                  <a:lnTo>
                    <a:pt x="276" y="414"/>
                  </a:lnTo>
                  <a:lnTo>
                    <a:pt x="290" y="398"/>
                  </a:lnTo>
                  <a:lnTo>
                    <a:pt x="298" y="380"/>
                  </a:lnTo>
                  <a:lnTo>
                    <a:pt x="302" y="362"/>
                  </a:lnTo>
                  <a:lnTo>
                    <a:pt x="310" y="344"/>
                  </a:lnTo>
                  <a:lnTo>
                    <a:pt x="322" y="338"/>
                  </a:lnTo>
                  <a:lnTo>
                    <a:pt x="338" y="318"/>
                  </a:lnTo>
                  <a:lnTo>
                    <a:pt x="350" y="310"/>
                  </a:lnTo>
                  <a:lnTo>
                    <a:pt x="364" y="302"/>
                  </a:lnTo>
                  <a:lnTo>
                    <a:pt x="378" y="286"/>
                  </a:lnTo>
                  <a:lnTo>
                    <a:pt x="392" y="276"/>
                  </a:lnTo>
                  <a:lnTo>
                    <a:pt x="402" y="260"/>
                  </a:lnTo>
                  <a:lnTo>
                    <a:pt x="412" y="242"/>
                  </a:lnTo>
                  <a:lnTo>
                    <a:pt x="416" y="216"/>
                  </a:lnTo>
                  <a:lnTo>
                    <a:pt x="424" y="198"/>
                  </a:lnTo>
                  <a:lnTo>
                    <a:pt x="444" y="172"/>
                  </a:lnTo>
                  <a:lnTo>
                    <a:pt x="458" y="156"/>
                  </a:lnTo>
                  <a:lnTo>
                    <a:pt x="464" y="142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82"/>
            <p:cNvSpPr>
              <a:spLocks/>
            </p:cNvSpPr>
            <p:nvPr/>
          </p:nvSpPr>
          <p:spPr bwMode="auto">
            <a:xfrm>
              <a:off x="3691290" y="2964383"/>
              <a:ext cx="639783" cy="221233"/>
            </a:xfrm>
            <a:custGeom>
              <a:avLst/>
              <a:gdLst>
                <a:gd name="T0" fmla="*/ 414 w 428"/>
                <a:gd name="T1" fmla="*/ 104 h 148"/>
                <a:gd name="T2" fmla="*/ 420 w 428"/>
                <a:gd name="T3" fmla="*/ 70 h 148"/>
                <a:gd name="T4" fmla="*/ 428 w 428"/>
                <a:gd name="T5" fmla="*/ 36 h 148"/>
                <a:gd name="T6" fmla="*/ 428 w 428"/>
                <a:gd name="T7" fmla="*/ 18 h 148"/>
                <a:gd name="T8" fmla="*/ 400 w 428"/>
                <a:gd name="T9" fmla="*/ 18 h 148"/>
                <a:gd name="T10" fmla="*/ 380 w 428"/>
                <a:gd name="T11" fmla="*/ 44 h 148"/>
                <a:gd name="T12" fmla="*/ 352 w 428"/>
                <a:gd name="T13" fmla="*/ 54 h 148"/>
                <a:gd name="T14" fmla="*/ 326 w 428"/>
                <a:gd name="T15" fmla="*/ 54 h 148"/>
                <a:gd name="T16" fmla="*/ 300 w 428"/>
                <a:gd name="T17" fmla="*/ 80 h 148"/>
                <a:gd name="T18" fmla="*/ 272 w 428"/>
                <a:gd name="T19" fmla="*/ 62 h 148"/>
                <a:gd name="T20" fmla="*/ 276 w 428"/>
                <a:gd name="T21" fmla="*/ 36 h 148"/>
                <a:gd name="T22" fmla="*/ 276 w 428"/>
                <a:gd name="T23" fmla="*/ 2 h 148"/>
                <a:gd name="T24" fmla="*/ 250 w 428"/>
                <a:gd name="T25" fmla="*/ 10 h 148"/>
                <a:gd name="T26" fmla="*/ 224 w 428"/>
                <a:gd name="T27" fmla="*/ 36 h 148"/>
                <a:gd name="T28" fmla="*/ 198 w 428"/>
                <a:gd name="T29" fmla="*/ 36 h 148"/>
                <a:gd name="T30" fmla="*/ 182 w 428"/>
                <a:gd name="T31" fmla="*/ 16 h 148"/>
                <a:gd name="T32" fmla="*/ 156 w 428"/>
                <a:gd name="T33" fmla="*/ 34 h 148"/>
                <a:gd name="T34" fmla="*/ 136 w 428"/>
                <a:gd name="T35" fmla="*/ 26 h 148"/>
                <a:gd name="T36" fmla="*/ 110 w 428"/>
                <a:gd name="T37" fmla="*/ 2 h 148"/>
                <a:gd name="T38" fmla="*/ 82 w 428"/>
                <a:gd name="T39" fmla="*/ 10 h 148"/>
                <a:gd name="T40" fmla="*/ 60 w 428"/>
                <a:gd name="T41" fmla="*/ 0 h 148"/>
                <a:gd name="T42" fmla="*/ 48 w 428"/>
                <a:gd name="T43" fmla="*/ 36 h 148"/>
                <a:gd name="T44" fmla="*/ 34 w 428"/>
                <a:gd name="T45" fmla="*/ 70 h 148"/>
                <a:gd name="T46" fmla="*/ 8 w 428"/>
                <a:gd name="T47" fmla="*/ 86 h 148"/>
                <a:gd name="T48" fmla="*/ 14 w 428"/>
                <a:gd name="T49" fmla="*/ 86 h 148"/>
                <a:gd name="T50" fmla="*/ 34 w 428"/>
                <a:gd name="T51" fmla="*/ 114 h 148"/>
                <a:gd name="T52" fmla="*/ 40 w 428"/>
                <a:gd name="T53" fmla="*/ 148 h 148"/>
                <a:gd name="T54" fmla="*/ 76 w 428"/>
                <a:gd name="T55" fmla="*/ 130 h 148"/>
                <a:gd name="T56" fmla="*/ 100 w 428"/>
                <a:gd name="T57" fmla="*/ 104 h 148"/>
                <a:gd name="T58" fmla="*/ 136 w 428"/>
                <a:gd name="T59" fmla="*/ 86 h 148"/>
                <a:gd name="T60" fmla="*/ 162 w 428"/>
                <a:gd name="T61" fmla="*/ 104 h 148"/>
                <a:gd name="T62" fmla="*/ 190 w 428"/>
                <a:gd name="T63" fmla="*/ 114 h 148"/>
                <a:gd name="T64" fmla="*/ 204 w 428"/>
                <a:gd name="T65" fmla="*/ 140 h 148"/>
                <a:gd name="T66" fmla="*/ 230 w 428"/>
                <a:gd name="T67" fmla="*/ 122 h 148"/>
                <a:gd name="T68" fmla="*/ 258 w 428"/>
                <a:gd name="T69" fmla="*/ 140 h 148"/>
                <a:gd name="T70" fmla="*/ 286 w 428"/>
                <a:gd name="T71" fmla="*/ 148 h 148"/>
                <a:gd name="T72" fmla="*/ 312 w 428"/>
                <a:gd name="T73" fmla="*/ 148 h 148"/>
                <a:gd name="T74" fmla="*/ 338 w 428"/>
                <a:gd name="T75" fmla="*/ 130 h 148"/>
                <a:gd name="T76" fmla="*/ 366 w 428"/>
                <a:gd name="T77" fmla="*/ 114 h 148"/>
                <a:gd name="T78" fmla="*/ 394 w 428"/>
                <a:gd name="T79" fmla="*/ 11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8" h="148">
                  <a:moveTo>
                    <a:pt x="408" y="122"/>
                  </a:moveTo>
                  <a:lnTo>
                    <a:pt x="414" y="104"/>
                  </a:lnTo>
                  <a:lnTo>
                    <a:pt x="414" y="86"/>
                  </a:lnTo>
                  <a:lnTo>
                    <a:pt x="420" y="70"/>
                  </a:lnTo>
                  <a:lnTo>
                    <a:pt x="420" y="54"/>
                  </a:lnTo>
                  <a:lnTo>
                    <a:pt x="428" y="36"/>
                  </a:lnTo>
                  <a:lnTo>
                    <a:pt x="428" y="18"/>
                  </a:lnTo>
                  <a:lnTo>
                    <a:pt x="428" y="18"/>
                  </a:lnTo>
                  <a:lnTo>
                    <a:pt x="414" y="18"/>
                  </a:lnTo>
                  <a:lnTo>
                    <a:pt x="400" y="18"/>
                  </a:lnTo>
                  <a:lnTo>
                    <a:pt x="386" y="26"/>
                  </a:lnTo>
                  <a:lnTo>
                    <a:pt x="380" y="44"/>
                  </a:lnTo>
                  <a:lnTo>
                    <a:pt x="366" y="54"/>
                  </a:lnTo>
                  <a:lnTo>
                    <a:pt x="352" y="54"/>
                  </a:lnTo>
                  <a:lnTo>
                    <a:pt x="338" y="54"/>
                  </a:lnTo>
                  <a:lnTo>
                    <a:pt x="326" y="54"/>
                  </a:lnTo>
                  <a:lnTo>
                    <a:pt x="312" y="62"/>
                  </a:lnTo>
                  <a:lnTo>
                    <a:pt x="300" y="80"/>
                  </a:lnTo>
                  <a:lnTo>
                    <a:pt x="286" y="80"/>
                  </a:lnTo>
                  <a:lnTo>
                    <a:pt x="272" y="62"/>
                  </a:lnTo>
                  <a:lnTo>
                    <a:pt x="264" y="44"/>
                  </a:lnTo>
                  <a:lnTo>
                    <a:pt x="276" y="36"/>
                  </a:lnTo>
                  <a:lnTo>
                    <a:pt x="286" y="18"/>
                  </a:lnTo>
                  <a:lnTo>
                    <a:pt x="276" y="2"/>
                  </a:lnTo>
                  <a:lnTo>
                    <a:pt x="264" y="2"/>
                  </a:lnTo>
                  <a:lnTo>
                    <a:pt x="250" y="10"/>
                  </a:lnTo>
                  <a:lnTo>
                    <a:pt x="236" y="18"/>
                  </a:lnTo>
                  <a:lnTo>
                    <a:pt x="224" y="36"/>
                  </a:lnTo>
                  <a:lnTo>
                    <a:pt x="210" y="44"/>
                  </a:lnTo>
                  <a:lnTo>
                    <a:pt x="198" y="36"/>
                  </a:lnTo>
                  <a:lnTo>
                    <a:pt x="182" y="18"/>
                  </a:lnTo>
                  <a:lnTo>
                    <a:pt x="182" y="16"/>
                  </a:lnTo>
                  <a:lnTo>
                    <a:pt x="164" y="16"/>
                  </a:lnTo>
                  <a:lnTo>
                    <a:pt x="156" y="34"/>
                  </a:lnTo>
                  <a:lnTo>
                    <a:pt x="152" y="40"/>
                  </a:lnTo>
                  <a:lnTo>
                    <a:pt x="136" y="26"/>
                  </a:lnTo>
                  <a:lnTo>
                    <a:pt x="122" y="10"/>
                  </a:lnTo>
                  <a:lnTo>
                    <a:pt x="110" y="2"/>
                  </a:lnTo>
                  <a:lnTo>
                    <a:pt x="96" y="2"/>
                  </a:lnTo>
                  <a:lnTo>
                    <a:pt x="82" y="10"/>
                  </a:lnTo>
                  <a:lnTo>
                    <a:pt x="68" y="10"/>
                  </a:lnTo>
                  <a:lnTo>
                    <a:pt x="60" y="0"/>
                  </a:lnTo>
                  <a:lnTo>
                    <a:pt x="48" y="18"/>
                  </a:lnTo>
                  <a:lnTo>
                    <a:pt x="48" y="36"/>
                  </a:lnTo>
                  <a:lnTo>
                    <a:pt x="48" y="54"/>
                  </a:lnTo>
                  <a:lnTo>
                    <a:pt x="34" y="70"/>
                  </a:lnTo>
                  <a:lnTo>
                    <a:pt x="20" y="70"/>
                  </a:lnTo>
                  <a:lnTo>
                    <a:pt x="8" y="86"/>
                  </a:lnTo>
                  <a:lnTo>
                    <a:pt x="0" y="86"/>
                  </a:lnTo>
                  <a:lnTo>
                    <a:pt x="14" y="86"/>
                  </a:lnTo>
                  <a:lnTo>
                    <a:pt x="20" y="104"/>
                  </a:lnTo>
                  <a:lnTo>
                    <a:pt x="34" y="114"/>
                  </a:lnTo>
                  <a:lnTo>
                    <a:pt x="34" y="130"/>
                  </a:lnTo>
                  <a:lnTo>
                    <a:pt x="40" y="148"/>
                  </a:lnTo>
                  <a:lnTo>
                    <a:pt x="60" y="148"/>
                  </a:lnTo>
                  <a:lnTo>
                    <a:pt x="76" y="130"/>
                  </a:lnTo>
                  <a:lnTo>
                    <a:pt x="88" y="122"/>
                  </a:lnTo>
                  <a:lnTo>
                    <a:pt x="100" y="104"/>
                  </a:lnTo>
                  <a:lnTo>
                    <a:pt x="114" y="98"/>
                  </a:lnTo>
                  <a:lnTo>
                    <a:pt x="136" y="86"/>
                  </a:lnTo>
                  <a:lnTo>
                    <a:pt x="152" y="98"/>
                  </a:lnTo>
                  <a:lnTo>
                    <a:pt x="162" y="104"/>
                  </a:lnTo>
                  <a:lnTo>
                    <a:pt x="176" y="104"/>
                  </a:lnTo>
                  <a:lnTo>
                    <a:pt x="190" y="114"/>
                  </a:lnTo>
                  <a:lnTo>
                    <a:pt x="198" y="130"/>
                  </a:lnTo>
                  <a:lnTo>
                    <a:pt x="204" y="140"/>
                  </a:lnTo>
                  <a:lnTo>
                    <a:pt x="218" y="122"/>
                  </a:lnTo>
                  <a:lnTo>
                    <a:pt x="230" y="122"/>
                  </a:lnTo>
                  <a:lnTo>
                    <a:pt x="244" y="122"/>
                  </a:lnTo>
                  <a:lnTo>
                    <a:pt x="258" y="140"/>
                  </a:lnTo>
                  <a:lnTo>
                    <a:pt x="272" y="148"/>
                  </a:lnTo>
                  <a:lnTo>
                    <a:pt x="286" y="148"/>
                  </a:lnTo>
                  <a:lnTo>
                    <a:pt x="300" y="148"/>
                  </a:lnTo>
                  <a:lnTo>
                    <a:pt x="312" y="148"/>
                  </a:lnTo>
                  <a:lnTo>
                    <a:pt x="326" y="140"/>
                  </a:lnTo>
                  <a:lnTo>
                    <a:pt x="338" y="130"/>
                  </a:lnTo>
                  <a:lnTo>
                    <a:pt x="352" y="114"/>
                  </a:lnTo>
                  <a:lnTo>
                    <a:pt x="366" y="114"/>
                  </a:lnTo>
                  <a:lnTo>
                    <a:pt x="380" y="114"/>
                  </a:lnTo>
                  <a:lnTo>
                    <a:pt x="394" y="114"/>
                  </a:lnTo>
                  <a:lnTo>
                    <a:pt x="408" y="122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83"/>
            <p:cNvSpPr>
              <a:spLocks/>
            </p:cNvSpPr>
            <p:nvPr/>
          </p:nvSpPr>
          <p:spPr bwMode="auto">
            <a:xfrm>
              <a:off x="3691290" y="2964383"/>
              <a:ext cx="639783" cy="221233"/>
            </a:xfrm>
            <a:custGeom>
              <a:avLst/>
              <a:gdLst>
                <a:gd name="T0" fmla="*/ 414 w 428"/>
                <a:gd name="T1" fmla="*/ 104 h 148"/>
                <a:gd name="T2" fmla="*/ 420 w 428"/>
                <a:gd name="T3" fmla="*/ 70 h 148"/>
                <a:gd name="T4" fmla="*/ 428 w 428"/>
                <a:gd name="T5" fmla="*/ 36 h 148"/>
                <a:gd name="T6" fmla="*/ 428 w 428"/>
                <a:gd name="T7" fmla="*/ 18 h 148"/>
                <a:gd name="T8" fmla="*/ 400 w 428"/>
                <a:gd name="T9" fmla="*/ 18 h 148"/>
                <a:gd name="T10" fmla="*/ 380 w 428"/>
                <a:gd name="T11" fmla="*/ 44 h 148"/>
                <a:gd name="T12" fmla="*/ 352 w 428"/>
                <a:gd name="T13" fmla="*/ 54 h 148"/>
                <a:gd name="T14" fmla="*/ 326 w 428"/>
                <a:gd name="T15" fmla="*/ 54 h 148"/>
                <a:gd name="T16" fmla="*/ 300 w 428"/>
                <a:gd name="T17" fmla="*/ 80 h 148"/>
                <a:gd name="T18" fmla="*/ 272 w 428"/>
                <a:gd name="T19" fmla="*/ 62 h 148"/>
                <a:gd name="T20" fmla="*/ 276 w 428"/>
                <a:gd name="T21" fmla="*/ 36 h 148"/>
                <a:gd name="T22" fmla="*/ 276 w 428"/>
                <a:gd name="T23" fmla="*/ 2 h 148"/>
                <a:gd name="T24" fmla="*/ 250 w 428"/>
                <a:gd name="T25" fmla="*/ 10 h 148"/>
                <a:gd name="T26" fmla="*/ 224 w 428"/>
                <a:gd name="T27" fmla="*/ 36 h 148"/>
                <a:gd name="T28" fmla="*/ 198 w 428"/>
                <a:gd name="T29" fmla="*/ 36 h 148"/>
                <a:gd name="T30" fmla="*/ 182 w 428"/>
                <a:gd name="T31" fmla="*/ 16 h 148"/>
                <a:gd name="T32" fmla="*/ 156 w 428"/>
                <a:gd name="T33" fmla="*/ 34 h 148"/>
                <a:gd name="T34" fmla="*/ 136 w 428"/>
                <a:gd name="T35" fmla="*/ 26 h 148"/>
                <a:gd name="T36" fmla="*/ 110 w 428"/>
                <a:gd name="T37" fmla="*/ 2 h 148"/>
                <a:gd name="T38" fmla="*/ 82 w 428"/>
                <a:gd name="T39" fmla="*/ 10 h 148"/>
                <a:gd name="T40" fmla="*/ 60 w 428"/>
                <a:gd name="T41" fmla="*/ 0 h 148"/>
                <a:gd name="T42" fmla="*/ 48 w 428"/>
                <a:gd name="T43" fmla="*/ 36 h 148"/>
                <a:gd name="T44" fmla="*/ 34 w 428"/>
                <a:gd name="T45" fmla="*/ 70 h 148"/>
                <a:gd name="T46" fmla="*/ 8 w 428"/>
                <a:gd name="T47" fmla="*/ 86 h 148"/>
                <a:gd name="T48" fmla="*/ 14 w 428"/>
                <a:gd name="T49" fmla="*/ 86 h 148"/>
                <a:gd name="T50" fmla="*/ 34 w 428"/>
                <a:gd name="T51" fmla="*/ 114 h 148"/>
                <a:gd name="T52" fmla="*/ 40 w 428"/>
                <a:gd name="T53" fmla="*/ 148 h 148"/>
                <a:gd name="T54" fmla="*/ 76 w 428"/>
                <a:gd name="T55" fmla="*/ 130 h 148"/>
                <a:gd name="T56" fmla="*/ 100 w 428"/>
                <a:gd name="T57" fmla="*/ 104 h 148"/>
                <a:gd name="T58" fmla="*/ 136 w 428"/>
                <a:gd name="T59" fmla="*/ 86 h 148"/>
                <a:gd name="T60" fmla="*/ 162 w 428"/>
                <a:gd name="T61" fmla="*/ 104 h 148"/>
                <a:gd name="T62" fmla="*/ 190 w 428"/>
                <a:gd name="T63" fmla="*/ 114 h 148"/>
                <a:gd name="T64" fmla="*/ 204 w 428"/>
                <a:gd name="T65" fmla="*/ 140 h 148"/>
                <a:gd name="T66" fmla="*/ 230 w 428"/>
                <a:gd name="T67" fmla="*/ 122 h 148"/>
                <a:gd name="T68" fmla="*/ 258 w 428"/>
                <a:gd name="T69" fmla="*/ 140 h 148"/>
                <a:gd name="T70" fmla="*/ 286 w 428"/>
                <a:gd name="T71" fmla="*/ 148 h 148"/>
                <a:gd name="T72" fmla="*/ 312 w 428"/>
                <a:gd name="T73" fmla="*/ 148 h 148"/>
                <a:gd name="T74" fmla="*/ 338 w 428"/>
                <a:gd name="T75" fmla="*/ 130 h 148"/>
                <a:gd name="T76" fmla="*/ 366 w 428"/>
                <a:gd name="T77" fmla="*/ 114 h 148"/>
                <a:gd name="T78" fmla="*/ 394 w 428"/>
                <a:gd name="T79" fmla="*/ 11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8" h="148">
                  <a:moveTo>
                    <a:pt x="408" y="122"/>
                  </a:moveTo>
                  <a:lnTo>
                    <a:pt x="414" y="104"/>
                  </a:lnTo>
                  <a:lnTo>
                    <a:pt x="414" y="86"/>
                  </a:lnTo>
                  <a:lnTo>
                    <a:pt x="420" y="70"/>
                  </a:lnTo>
                  <a:lnTo>
                    <a:pt x="420" y="54"/>
                  </a:lnTo>
                  <a:lnTo>
                    <a:pt x="428" y="36"/>
                  </a:lnTo>
                  <a:lnTo>
                    <a:pt x="428" y="18"/>
                  </a:lnTo>
                  <a:lnTo>
                    <a:pt x="428" y="18"/>
                  </a:lnTo>
                  <a:lnTo>
                    <a:pt x="414" y="18"/>
                  </a:lnTo>
                  <a:lnTo>
                    <a:pt x="400" y="18"/>
                  </a:lnTo>
                  <a:lnTo>
                    <a:pt x="386" y="26"/>
                  </a:lnTo>
                  <a:lnTo>
                    <a:pt x="380" y="44"/>
                  </a:lnTo>
                  <a:lnTo>
                    <a:pt x="366" y="54"/>
                  </a:lnTo>
                  <a:lnTo>
                    <a:pt x="352" y="54"/>
                  </a:lnTo>
                  <a:lnTo>
                    <a:pt x="338" y="54"/>
                  </a:lnTo>
                  <a:lnTo>
                    <a:pt x="326" y="54"/>
                  </a:lnTo>
                  <a:lnTo>
                    <a:pt x="312" y="62"/>
                  </a:lnTo>
                  <a:lnTo>
                    <a:pt x="300" y="80"/>
                  </a:lnTo>
                  <a:lnTo>
                    <a:pt x="286" y="80"/>
                  </a:lnTo>
                  <a:lnTo>
                    <a:pt x="272" y="62"/>
                  </a:lnTo>
                  <a:lnTo>
                    <a:pt x="264" y="44"/>
                  </a:lnTo>
                  <a:lnTo>
                    <a:pt x="276" y="36"/>
                  </a:lnTo>
                  <a:lnTo>
                    <a:pt x="286" y="18"/>
                  </a:lnTo>
                  <a:lnTo>
                    <a:pt x="276" y="2"/>
                  </a:lnTo>
                  <a:lnTo>
                    <a:pt x="264" y="2"/>
                  </a:lnTo>
                  <a:lnTo>
                    <a:pt x="250" y="10"/>
                  </a:lnTo>
                  <a:lnTo>
                    <a:pt x="236" y="18"/>
                  </a:lnTo>
                  <a:lnTo>
                    <a:pt x="224" y="36"/>
                  </a:lnTo>
                  <a:lnTo>
                    <a:pt x="210" y="44"/>
                  </a:lnTo>
                  <a:lnTo>
                    <a:pt x="198" y="36"/>
                  </a:lnTo>
                  <a:lnTo>
                    <a:pt x="182" y="18"/>
                  </a:lnTo>
                  <a:lnTo>
                    <a:pt x="182" y="16"/>
                  </a:lnTo>
                  <a:lnTo>
                    <a:pt x="164" y="16"/>
                  </a:lnTo>
                  <a:lnTo>
                    <a:pt x="156" y="34"/>
                  </a:lnTo>
                  <a:lnTo>
                    <a:pt x="152" y="40"/>
                  </a:lnTo>
                  <a:lnTo>
                    <a:pt x="136" y="26"/>
                  </a:lnTo>
                  <a:lnTo>
                    <a:pt x="122" y="10"/>
                  </a:lnTo>
                  <a:lnTo>
                    <a:pt x="110" y="2"/>
                  </a:lnTo>
                  <a:lnTo>
                    <a:pt x="96" y="2"/>
                  </a:lnTo>
                  <a:lnTo>
                    <a:pt x="82" y="10"/>
                  </a:lnTo>
                  <a:lnTo>
                    <a:pt x="68" y="10"/>
                  </a:lnTo>
                  <a:lnTo>
                    <a:pt x="60" y="0"/>
                  </a:lnTo>
                  <a:lnTo>
                    <a:pt x="48" y="18"/>
                  </a:lnTo>
                  <a:lnTo>
                    <a:pt x="48" y="36"/>
                  </a:lnTo>
                  <a:lnTo>
                    <a:pt x="48" y="54"/>
                  </a:lnTo>
                  <a:lnTo>
                    <a:pt x="34" y="70"/>
                  </a:lnTo>
                  <a:lnTo>
                    <a:pt x="20" y="70"/>
                  </a:lnTo>
                  <a:lnTo>
                    <a:pt x="8" y="86"/>
                  </a:lnTo>
                  <a:lnTo>
                    <a:pt x="0" y="86"/>
                  </a:lnTo>
                  <a:lnTo>
                    <a:pt x="14" y="86"/>
                  </a:lnTo>
                  <a:lnTo>
                    <a:pt x="20" y="104"/>
                  </a:lnTo>
                  <a:lnTo>
                    <a:pt x="34" y="114"/>
                  </a:lnTo>
                  <a:lnTo>
                    <a:pt x="34" y="130"/>
                  </a:lnTo>
                  <a:lnTo>
                    <a:pt x="40" y="148"/>
                  </a:lnTo>
                  <a:lnTo>
                    <a:pt x="60" y="148"/>
                  </a:lnTo>
                  <a:lnTo>
                    <a:pt x="76" y="130"/>
                  </a:lnTo>
                  <a:lnTo>
                    <a:pt x="88" y="122"/>
                  </a:lnTo>
                  <a:lnTo>
                    <a:pt x="100" y="104"/>
                  </a:lnTo>
                  <a:lnTo>
                    <a:pt x="114" y="98"/>
                  </a:lnTo>
                  <a:lnTo>
                    <a:pt x="136" y="86"/>
                  </a:lnTo>
                  <a:lnTo>
                    <a:pt x="152" y="98"/>
                  </a:lnTo>
                  <a:lnTo>
                    <a:pt x="162" y="104"/>
                  </a:lnTo>
                  <a:lnTo>
                    <a:pt x="176" y="104"/>
                  </a:lnTo>
                  <a:lnTo>
                    <a:pt x="190" y="114"/>
                  </a:lnTo>
                  <a:lnTo>
                    <a:pt x="198" y="130"/>
                  </a:lnTo>
                  <a:lnTo>
                    <a:pt x="204" y="140"/>
                  </a:lnTo>
                  <a:lnTo>
                    <a:pt x="218" y="122"/>
                  </a:lnTo>
                  <a:lnTo>
                    <a:pt x="230" y="122"/>
                  </a:lnTo>
                  <a:lnTo>
                    <a:pt x="244" y="122"/>
                  </a:lnTo>
                  <a:lnTo>
                    <a:pt x="258" y="140"/>
                  </a:lnTo>
                  <a:lnTo>
                    <a:pt x="272" y="148"/>
                  </a:lnTo>
                  <a:lnTo>
                    <a:pt x="286" y="148"/>
                  </a:lnTo>
                  <a:lnTo>
                    <a:pt x="300" y="148"/>
                  </a:lnTo>
                  <a:lnTo>
                    <a:pt x="312" y="148"/>
                  </a:lnTo>
                  <a:lnTo>
                    <a:pt x="326" y="140"/>
                  </a:lnTo>
                  <a:lnTo>
                    <a:pt x="338" y="130"/>
                  </a:lnTo>
                  <a:lnTo>
                    <a:pt x="352" y="114"/>
                  </a:lnTo>
                  <a:lnTo>
                    <a:pt x="366" y="114"/>
                  </a:lnTo>
                  <a:lnTo>
                    <a:pt x="380" y="114"/>
                  </a:lnTo>
                  <a:lnTo>
                    <a:pt x="394" y="114"/>
                  </a:lnTo>
                  <a:lnTo>
                    <a:pt x="408" y="122"/>
                  </a:lnTo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84"/>
            <p:cNvSpPr>
              <a:spLocks/>
            </p:cNvSpPr>
            <p:nvPr/>
          </p:nvSpPr>
          <p:spPr bwMode="auto">
            <a:xfrm>
              <a:off x="3957368" y="2850777"/>
              <a:ext cx="373705" cy="230202"/>
            </a:xfrm>
            <a:custGeom>
              <a:avLst/>
              <a:gdLst>
                <a:gd name="T0" fmla="*/ 0 w 250"/>
                <a:gd name="T1" fmla="*/ 86 h 154"/>
                <a:gd name="T2" fmla="*/ 6 w 250"/>
                <a:gd name="T3" fmla="*/ 78 h 154"/>
                <a:gd name="T4" fmla="*/ 6 w 250"/>
                <a:gd name="T5" fmla="*/ 58 h 154"/>
                <a:gd name="T6" fmla="*/ 12 w 250"/>
                <a:gd name="T7" fmla="*/ 42 h 154"/>
                <a:gd name="T8" fmla="*/ 12 w 250"/>
                <a:gd name="T9" fmla="*/ 26 h 154"/>
                <a:gd name="T10" fmla="*/ 20 w 250"/>
                <a:gd name="T11" fmla="*/ 16 h 154"/>
                <a:gd name="T12" fmla="*/ 32 w 250"/>
                <a:gd name="T13" fmla="*/ 26 h 154"/>
                <a:gd name="T14" fmla="*/ 46 w 250"/>
                <a:gd name="T15" fmla="*/ 16 h 154"/>
                <a:gd name="T16" fmla="*/ 58 w 250"/>
                <a:gd name="T17" fmla="*/ 16 h 154"/>
                <a:gd name="T18" fmla="*/ 72 w 250"/>
                <a:gd name="T19" fmla="*/ 8 h 154"/>
                <a:gd name="T20" fmla="*/ 86 w 250"/>
                <a:gd name="T21" fmla="*/ 0 h 154"/>
                <a:gd name="T22" fmla="*/ 94 w 250"/>
                <a:gd name="T23" fmla="*/ 16 h 154"/>
                <a:gd name="T24" fmla="*/ 82 w 250"/>
                <a:gd name="T25" fmla="*/ 26 h 154"/>
                <a:gd name="T26" fmla="*/ 82 w 250"/>
                <a:gd name="T27" fmla="*/ 42 h 154"/>
                <a:gd name="T28" fmla="*/ 94 w 250"/>
                <a:gd name="T29" fmla="*/ 52 h 154"/>
                <a:gd name="T30" fmla="*/ 108 w 250"/>
                <a:gd name="T31" fmla="*/ 42 h 154"/>
                <a:gd name="T32" fmla="*/ 120 w 250"/>
                <a:gd name="T33" fmla="*/ 52 h 154"/>
                <a:gd name="T34" fmla="*/ 134 w 250"/>
                <a:gd name="T35" fmla="*/ 58 h 154"/>
                <a:gd name="T36" fmla="*/ 142 w 250"/>
                <a:gd name="T37" fmla="*/ 52 h 154"/>
                <a:gd name="T38" fmla="*/ 142 w 250"/>
                <a:gd name="T39" fmla="*/ 34 h 154"/>
                <a:gd name="T40" fmla="*/ 154 w 250"/>
                <a:gd name="T41" fmla="*/ 26 h 154"/>
                <a:gd name="T42" fmla="*/ 168 w 250"/>
                <a:gd name="T43" fmla="*/ 34 h 154"/>
                <a:gd name="T44" fmla="*/ 182 w 250"/>
                <a:gd name="T45" fmla="*/ 34 h 154"/>
                <a:gd name="T46" fmla="*/ 196 w 250"/>
                <a:gd name="T47" fmla="*/ 26 h 154"/>
                <a:gd name="T48" fmla="*/ 208 w 250"/>
                <a:gd name="T49" fmla="*/ 42 h 154"/>
                <a:gd name="T50" fmla="*/ 222 w 250"/>
                <a:gd name="T51" fmla="*/ 42 h 154"/>
                <a:gd name="T52" fmla="*/ 236 w 250"/>
                <a:gd name="T53" fmla="*/ 34 h 154"/>
                <a:gd name="T54" fmla="*/ 236 w 250"/>
                <a:gd name="T55" fmla="*/ 42 h 154"/>
                <a:gd name="T56" fmla="*/ 236 w 250"/>
                <a:gd name="T57" fmla="*/ 34 h 154"/>
                <a:gd name="T58" fmla="*/ 242 w 250"/>
                <a:gd name="T59" fmla="*/ 52 h 154"/>
                <a:gd name="T60" fmla="*/ 250 w 250"/>
                <a:gd name="T61" fmla="*/ 68 h 154"/>
                <a:gd name="T62" fmla="*/ 250 w 250"/>
                <a:gd name="T63" fmla="*/ 86 h 154"/>
                <a:gd name="T64" fmla="*/ 250 w 250"/>
                <a:gd name="T65" fmla="*/ 94 h 154"/>
                <a:gd name="T66" fmla="*/ 250 w 250"/>
                <a:gd name="T67" fmla="*/ 94 h 154"/>
                <a:gd name="T68" fmla="*/ 236 w 250"/>
                <a:gd name="T69" fmla="*/ 94 h 154"/>
                <a:gd name="T70" fmla="*/ 222 w 250"/>
                <a:gd name="T71" fmla="*/ 94 h 154"/>
                <a:gd name="T72" fmla="*/ 208 w 250"/>
                <a:gd name="T73" fmla="*/ 104 h 154"/>
                <a:gd name="T74" fmla="*/ 202 w 250"/>
                <a:gd name="T75" fmla="*/ 120 h 154"/>
                <a:gd name="T76" fmla="*/ 188 w 250"/>
                <a:gd name="T77" fmla="*/ 128 h 154"/>
                <a:gd name="T78" fmla="*/ 174 w 250"/>
                <a:gd name="T79" fmla="*/ 128 h 154"/>
                <a:gd name="T80" fmla="*/ 160 w 250"/>
                <a:gd name="T81" fmla="*/ 128 h 154"/>
                <a:gd name="T82" fmla="*/ 148 w 250"/>
                <a:gd name="T83" fmla="*/ 128 h 154"/>
                <a:gd name="T84" fmla="*/ 134 w 250"/>
                <a:gd name="T85" fmla="*/ 138 h 154"/>
                <a:gd name="T86" fmla="*/ 120 w 250"/>
                <a:gd name="T87" fmla="*/ 154 h 154"/>
                <a:gd name="T88" fmla="*/ 108 w 250"/>
                <a:gd name="T89" fmla="*/ 154 h 154"/>
                <a:gd name="T90" fmla="*/ 94 w 250"/>
                <a:gd name="T91" fmla="*/ 138 h 154"/>
                <a:gd name="T92" fmla="*/ 86 w 250"/>
                <a:gd name="T93" fmla="*/ 120 h 154"/>
                <a:gd name="T94" fmla="*/ 100 w 250"/>
                <a:gd name="T95" fmla="*/ 112 h 154"/>
                <a:gd name="T96" fmla="*/ 108 w 250"/>
                <a:gd name="T97" fmla="*/ 94 h 154"/>
                <a:gd name="T98" fmla="*/ 100 w 250"/>
                <a:gd name="T99" fmla="*/ 78 h 154"/>
                <a:gd name="T100" fmla="*/ 86 w 250"/>
                <a:gd name="T101" fmla="*/ 78 h 154"/>
                <a:gd name="T102" fmla="*/ 72 w 250"/>
                <a:gd name="T103" fmla="*/ 86 h 154"/>
                <a:gd name="T104" fmla="*/ 58 w 250"/>
                <a:gd name="T105" fmla="*/ 94 h 154"/>
                <a:gd name="T106" fmla="*/ 46 w 250"/>
                <a:gd name="T107" fmla="*/ 112 h 154"/>
                <a:gd name="T108" fmla="*/ 32 w 250"/>
                <a:gd name="T109" fmla="*/ 120 h 154"/>
                <a:gd name="T110" fmla="*/ 20 w 250"/>
                <a:gd name="T111" fmla="*/ 112 h 154"/>
                <a:gd name="T112" fmla="*/ 6 w 250"/>
                <a:gd name="T113" fmla="*/ 94 h 154"/>
                <a:gd name="T114" fmla="*/ 0 w 250"/>
                <a:gd name="T115" fmla="*/ 8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0" h="154">
                  <a:moveTo>
                    <a:pt x="0" y="86"/>
                  </a:moveTo>
                  <a:lnTo>
                    <a:pt x="6" y="78"/>
                  </a:lnTo>
                  <a:lnTo>
                    <a:pt x="6" y="58"/>
                  </a:lnTo>
                  <a:lnTo>
                    <a:pt x="12" y="42"/>
                  </a:lnTo>
                  <a:lnTo>
                    <a:pt x="12" y="26"/>
                  </a:lnTo>
                  <a:lnTo>
                    <a:pt x="20" y="16"/>
                  </a:lnTo>
                  <a:lnTo>
                    <a:pt x="32" y="26"/>
                  </a:lnTo>
                  <a:lnTo>
                    <a:pt x="46" y="16"/>
                  </a:lnTo>
                  <a:lnTo>
                    <a:pt x="58" y="16"/>
                  </a:lnTo>
                  <a:lnTo>
                    <a:pt x="72" y="8"/>
                  </a:lnTo>
                  <a:lnTo>
                    <a:pt x="86" y="0"/>
                  </a:lnTo>
                  <a:lnTo>
                    <a:pt x="94" y="16"/>
                  </a:lnTo>
                  <a:lnTo>
                    <a:pt x="82" y="26"/>
                  </a:lnTo>
                  <a:lnTo>
                    <a:pt x="82" y="42"/>
                  </a:lnTo>
                  <a:lnTo>
                    <a:pt x="94" y="52"/>
                  </a:lnTo>
                  <a:lnTo>
                    <a:pt x="108" y="42"/>
                  </a:lnTo>
                  <a:lnTo>
                    <a:pt x="120" y="52"/>
                  </a:lnTo>
                  <a:lnTo>
                    <a:pt x="134" y="58"/>
                  </a:lnTo>
                  <a:lnTo>
                    <a:pt x="142" y="52"/>
                  </a:lnTo>
                  <a:lnTo>
                    <a:pt x="142" y="34"/>
                  </a:lnTo>
                  <a:lnTo>
                    <a:pt x="154" y="26"/>
                  </a:lnTo>
                  <a:lnTo>
                    <a:pt x="168" y="34"/>
                  </a:lnTo>
                  <a:lnTo>
                    <a:pt x="182" y="34"/>
                  </a:lnTo>
                  <a:lnTo>
                    <a:pt x="196" y="26"/>
                  </a:lnTo>
                  <a:lnTo>
                    <a:pt x="208" y="42"/>
                  </a:lnTo>
                  <a:lnTo>
                    <a:pt x="222" y="42"/>
                  </a:lnTo>
                  <a:lnTo>
                    <a:pt x="236" y="34"/>
                  </a:lnTo>
                  <a:lnTo>
                    <a:pt x="236" y="42"/>
                  </a:lnTo>
                  <a:lnTo>
                    <a:pt x="236" y="34"/>
                  </a:lnTo>
                  <a:lnTo>
                    <a:pt x="242" y="52"/>
                  </a:lnTo>
                  <a:lnTo>
                    <a:pt x="250" y="68"/>
                  </a:lnTo>
                  <a:lnTo>
                    <a:pt x="250" y="86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36" y="94"/>
                  </a:lnTo>
                  <a:lnTo>
                    <a:pt x="222" y="94"/>
                  </a:lnTo>
                  <a:lnTo>
                    <a:pt x="208" y="104"/>
                  </a:lnTo>
                  <a:lnTo>
                    <a:pt x="202" y="120"/>
                  </a:lnTo>
                  <a:lnTo>
                    <a:pt x="188" y="128"/>
                  </a:lnTo>
                  <a:lnTo>
                    <a:pt x="174" y="128"/>
                  </a:lnTo>
                  <a:lnTo>
                    <a:pt x="160" y="128"/>
                  </a:lnTo>
                  <a:lnTo>
                    <a:pt x="148" y="128"/>
                  </a:lnTo>
                  <a:lnTo>
                    <a:pt x="134" y="138"/>
                  </a:lnTo>
                  <a:lnTo>
                    <a:pt x="120" y="154"/>
                  </a:lnTo>
                  <a:lnTo>
                    <a:pt x="108" y="154"/>
                  </a:lnTo>
                  <a:lnTo>
                    <a:pt x="94" y="138"/>
                  </a:lnTo>
                  <a:lnTo>
                    <a:pt x="86" y="120"/>
                  </a:lnTo>
                  <a:lnTo>
                    <a:pt x="100" y="112"/>
                  </a:lnTo>
                  <a:lnTo>
                    <a:pt x="108" y="94"/>
                  </a:lnTo>
                  <a:lnTo>
                    <a:pt x="100" y="78"/>
                  </a:lnTo>
                  <a:lnTo>
                    <a:pt x="86" y="78"/>
                  </a:lnTo>
                  <a:lnTo>
                    <a:pt x="72" y="86"/>
                  </a:lnTo>
                  <a:lnTo>
                    <a:pt x="58" y="94"/>
                  </a:lnTo>
                  <a:lnTo>
                    <a:pt x="46" y="112"/>
                  </a:lnTo>
                  <a:lnTo>
                    <a:pt x="32" y="120"/>
                  </a:lnTo>
                  <a:lnTo>
                    <a:pt x="20" y="112"/>
                  </a:lnTo>
                  <a:lnTo>
                    <a:pt x="6" y="94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85"/>
            <p:cNvSpPr>
              <a:spLocks/>
            </p:cNvSpPr>
            <p:nvPr/>
          </p:nvSpPr>
          <p:spPr bwMode="auto">
            <a:xfrm>
              <a:off x="3957368" y="2850777"/>
              <a:ext cx="373705" cy="230202"/>
            </a:xfrm>
            <a:custGeom>
              <a:avLst/>
              <a:gdLst>
                <a:gd name="T0" fmla="*/ 0 w 250"/>
                <a:gd name="T1" fmla="*/ 86 h 154"/>
                <a:gd name="T2" fmla="*/ 6 w 250"/>
                <a:gd name="T3" fmla="*/ 78 h 154"/>
                <a:gd name="T4" fmla="*/ 6 w 250"/>
                <a:gd name="T5" fmla="*/ 58 h 154"/>
                <a:gd name="T6" fmla="*/ 12 w 250"/>
                <a:gd name="T7" fmla="*/ 42 h 154"/>
                <a:gd name="T8" fmla="*/ 12 w 250"/>
                <a:gd name="T9" fmla="*/ 26 h 154"/>
                <a:gd name="T10" fmla="*/ 20 w 250"/>
                <a:gd name="T11" fmla="*/ 16 h 154"/>
                <a:gd name="T12" fmla="*/ 32 w 250"/>
                <a:gd name="T13" fmla="*/ 26 h 154"/>
                <a:gd name="T14" fmla="*/ 46 w 250"/>
                <a:gd name="T15" fmla="*/ 16 h 154"/>
                <a:gd name="T16" fmla="*/ 58 w 250"/>
                <a:gd name="T17" fmla="*/ 16 h 154"/>
                <a:gd name="T18" fmla="*/ 72 w 250"/>
                <a:gd name="T19" fmla="*/ 8 h 154"/>
                <a:gd name="T20" fmla="*/ 86 w 250"/>
                <a:gd name="T21" fmla="*/ 0 h 154"/>
                <a:gd name="T22" fmla="*/ 94 w 250"/>
                <a:gd name="T23" fmla="*/ 16 h 154"/>
                <a:gd name="T24" fmla="*/ 82 w 250"/>
                <a:gd name="T25" fmla="*/ 26 h 154"/>
                <a:gd name="T26" fmla="*/ 82 w 250"/>
                <a:gd name="T27" fmla="*/ 42 h 154"/>
                <a:gd name="T28" fmla="*/ 94 w 250"/>
                <a:gd name="T29" fmla="*/ 52 h 154"/>
                <a:gd name="T30" fmla="*/ 108 w 250"/>
                <a:gd name="T31" fmla="*/ 42 h 154"/>
                <a:gd name="T32" fmla="*/ 120 w 250"/>
                <a:gd name="T33" fmla="*/ 52 h 154"/>
                <a:gd name="T34" fmla="*/ 134 w 250"/>
                <a:gd name="T35" fmla="*/ 58 h 154"/>
                <a:gd name="T36" fmla="*/ 142 w 250"/>
                <a:gd name="T37" fmla="*/ 52 h 154"/>
                <a:gd name="T38" fmla="*/ 142 w 250"/>
                <a:gd name="T39" fmla="*/ 34 h 154"/>
                <a:gd name="T40" fmla="*/ 154 w 250"/>
                <a:gd name="T41" fmla="*/ 26 h 154"/>
                <a:gd name="T42" fmla="*/ 168 w 250"/>
                <a:gd name="T43" fmla="*/ 34 h 154"/>
                <a:gd name="T44" fmla="*/ 182 w 250"/>
                <a:gd name="T45" fmla="*/ 34 h 154"/>
                <a:gd name="T46" fmla="*/ 196 w 250"/>
                <a:gd name="T47" fmla="*/ 26 h 154"/>
                <a:gd name="T48" fmla="*/ 208 w 250"/>
                <a:gd name="T49" fmla="*/ 42 h 154"/>
                <a:gd name="T50" fmla="*/ 222 w 250"/>
                <a:gd name="T51" fmla="*/ 42 h 154"/>
                <a:gd name="T52" fmla="*/ 236 w 250"/>
                <a:gd name="T53" fmla="*/ 34 h 154"/>
                <a:gd name="T54" fmla="*/ 236 w 250"/>
                <a:gd name="T55" fmla="*/ 42 h 154"/>
                <a:gd name="T56" fmla="*/ 236 w 250"/>
                <a:gd name="T57" fmla="*/ 34 h 154"/>
                <a:gd name="T58" fmla="*/ 242 w 250"/>
                <a:gd name="T59" fmla="*/ 52 h 154"/>
                <a:gd name="T60" fmla="*/ 250 w 250"/>
                <a:gd name="T61" fmla="*/ 68 h 154"/>
                <a:gd name="T62" fmla="*/ 250 w 250"/>
                <a:gd name="T63" fmla="*/ 86 h 154"/>
                <a:gd name="T64" fmla="*/ 250 w 250"/>
                <a:gd name="T65" fmla="*/ 94 h 154"/>
                <a:gd name="T66" fmla="*/ 250 w 250"/>
                <a:gd name="T67" fmla="*/ 94 h 154"/>
                <a:gd name="T68" fmla="*/ 236 w 250"/>
                <a:gd name="T69" fmla="*/ 94 h 154"/>
                <a:gd name="T70" fmla="*/ 222 w 250"/>
                <a:gd name="T71" fmla="*/ 94 h 154"/>
                <a:gd name="T72" fmla="*/ 208 w 250"/>
                <a:gd name="T73" fmla="*/ 104 h 154"/>
                <a:gd name="T74" fmla="*/ 202 w 250"/>
                <a:gd name="T75" fmla="*/ 120 h 154"/>
                <a:gd name="T76" fmla="*/ 188 w 250"/>
                <a:gd name="T77" fmla="*/ 128 h 154"/>
                <a:gd name="T78" fmla="*/ 174 w 250"/>
                <a:gd name="T79" fmla="*/ 128 h 154"/>
                <a:gd name="T80" fmla="*/ 160 w 250"/>
                <a:gd name="T81" fmla="*/ 128 h 154"/>
                <a:gd name="T82" fmla="*/ 148 w 250"/>
                <a:gd name="T83" fmla="*/ 128 h 154"/>
                <a:gd name="T84" fmla="*/ 134 w 250"/>
                <a:gd name="T85" fmla="*/ 138 h 154"/>
                <a:gd name="T86" fmla="*/ 120 w 250"/>
                <a:gd name="T87" fmla="*/ 154 h 154"/>
                <a:gd name="T88" fmla="*/ 108 w 250"/>
                <a:gd name="T89" fmla="*/ 154 h 154"/>
                <a:gd name="T90" fmla="*/ 94 w 250"/>
                <a:gd name="T91" fmla="*/ 138 h 154"/>
                <a:gd name="T92" fmla="*/ 86 w 250"/>
                <a:gd name="T93" fmla="*/ 120 h 154"/>
                <a:gd name="T94" fmla="*/ 100 w 250"/>
                <a:gd name="T95" fmla="*/ 112 h 154"/>
                <a:gd name="T96" fmla="*/ 108 w 250"/>
                <a:gd name="T97" fmla="*/ 94 h 154"/>
                <a:gd name="T98" fmla="*/ 100 w 250"/>
                <a:gd name="T99" fmla="*/ 78 h 154"/>
                <a:gd name="T100" fmla="*/ 86 w 250"/>
                <a:gd name="T101" fmla="*/ 78 h 154"/>
                <a:gd name="T102" fmla="*/ 72 w 250"/>
                <a:gd name="T103" fmla="*/ 86 h 154"/>
                <a:gd name="T104" fmla="*/ 58 w 250"/>
                <a:gd name="T105" fmla="*/ 94 h 154"/>
                <a:gd name="T106" fmla="*/ 46 w 250"/>
                <a:gd name="T107" fmla="*/ 112 h 154"/>
                <a:gd name="T108" fmla="*/ 32 w 250"/>
                <a:gd name="T109" fmla="*/ 120 h 154"/>
                <a:gd name="T110" fmla="*/ 20 w 250"/>
                <a:gd name="T111" fmla="*/ 112 h 154"/>
                <a:gd name="T112" fmla="*/ 6 w 250"/>
                <a:gd name="T113" fmla="*/ 94 h 154"/>
                <a:gd name="T114" fmla="*/ 0 w 250"/>
                <a:gd name="T115" fmla="*/ 8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0" h="154">
                  <a:moveTo>
                    <a:pt x="0" y="86"/>
                  </a:moveTo>
                  <a:lnTo>
                    <a:pt x="6" y="78"/>
                  </a:lnTo>
                  <a:lnTo>
                    <a:pt x="6" y="58"/>
                  </a:lnTo>
                  <a:lnTo>
                    <a:pt x="12" y="42"/>
                  </a:lnTo>
                  <a:lnTo>
                    <a:pt x="12" y="26"/>
                  </a:lnTo>
                  <a:lnTo>
                    <a:pt x="20" y="16"/>
                  </a:lnTo>
                  <a:lnTo>
                    <a:pt x="32" y="26"/>
                  </a:lnTo>
                  <a:lnTo>
                    <a:pt x="46" y="16"/>
                  </a:lnTo>
                  <a:lnTo>
                    <a:pt x="58" y="16"/>
                  </a:lnTo>
                  <a:lnTo>
                    <a:pt x="72" y="8"/>
                  </a:lnTo>
                  <a:lnTo>
                    <a:pt x="86" y="0"/>
                  </a:lnTo>
                  <a:lnTo>
                    <a:pt x="94" y="16"/>
                  </a:lnTo>
                  <a:lnTo>
                    <a:pt x="82" y="26"/>
                  </a:lnTo>
                  <a:lnTo>
                    <a:pt x="82" y="42"/>
                  </a:lnTo>
                  <a:lnTo>
                    <a:pt x="94" y="52"/>
                  </a:lnTo>
                  <a:lnTo>
                    <a:pt x="108" y="42"/>
                  </a:lnTo>
                  <a:lnTo>
                    <a:pt x="120" y="52"/>
                  </a:lnTo>
                  <a:lnTo>
                    <a:pt x="134" y="58"/>
                  </a:lnTo>
                  <a:lnTo>
                    <a:pt x="142" y="52"/>
                  </a:lnTo>
                  <a:lnTo>
                    <a:pt x="142" y="34"/>
                  </a:lnTo>
                  <a:lnTo>
                    <a:pt x="154" y="26"/>
                  </a:lnTo>
                  <a:lnTo>
                    <a:pt x="168" y="34"/>
                  </a:lnTo>
                  <a:lnTo>
                    <a:pt x="182" y="34"/>
                  </a:lnTo>
                  <a:lnTo>
                    <a:pt x="196" y="26"/>
                  </a:lnTo>
                  <a:lnTo>
                    <a:pt x="208" y="42"/>
                  </a:lnTo>
                  <a:lnTo>
                    <a:pt x="222" y="42"/>
                  </a:lnTo>
                  <a:lnTo>
                    <a:pt x="236" y="34"/>
                  </a:lnTo>
                  <a:lnTo>
                    <a:pt x="236" y="42"/>
                  </a:lnTo>
                  <a:lnTo>
                    <a:pt x="236" y="34"/>
                  </a:lnTo>
                  <a:lnTo>
                    <a:pt x="242" y="52"/>
                  </a:lnTo>
                  <a:lnTo>
                    <a:pt x="250" y="68"/>
                  </a:lnTo>
                  <a:lnTo>
                    <a:pt x="250" y="86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36" y="94"/>
                  </a:lnTo>
                  <a:lnTo>
                    <a:pt x="222" y="94"/>
                  </a:lnTo>
                  <a:lnTo>
                    <a:pt x="208" y="104"/>
                  </a:lnTo>
                  <a:lnTo>
                    <a:pt x="202" y="120"/>
                  </a:lnTo>
                  <a:lnTo>
                    <a:pt x="188" y="128"/>
                  </a:lnTo>
                  <a:lnTo>
                    <a:pt x="174" y="128"/>
                  </a:lnTo>
                  <a:lnTo>
                    <a:pt x="160" y="128"/>
                  </a:lnTo>
                  <a:lnTo>
                    <a:pt x="148" y="128"/>
                  </a:lnTo>
                  <a:lnTo>
                    <a:pt x="134" y="138"/>
                  </a:lnTo>
                  <a:lnTo>
                    <a:pt x="120" y="154"/>
                  </a:lnTo>
                  <a:lnTo>
                    <a:pt x="108" y="154"/>
                  </a:lnTo>
                  <a:lnTo>
                    <a:pt x="94" y="138"/>
                  </a:lnTo>
                  <a:lnTo>
                    <a:pt x="86" y="120"/>
                  </a:lnTo>
                  <a:lnTo>
                    <a:pt x="100" y="112"/>
                  </a:lnTo>
                  <a:lnTo>
                    <a:pt x="108" y="94"/>
                  </a:lnTo>
                  <a:lnTo>
                    <a:pt x="100" y="78"/>
                  </a:lnTo>
                  <a:lnTo>
                    <a:pt x="86" y="78"/>
                  </a:lnTo>
                  <a:lnTo>
                    <a:pt x="72" y="86"/>
                  </a:lnTo>
                  <a:lnTo>
                    <a:pt x="58" y="94"/>
                  </a:lnTo>
                  <a:lnTo>
                    <a:pt x="46" y="112"/>
                  </a:lnTo>
                  <a:lnTo>
                    <a:pt x="32" y="120"/>
                  </a:lnTo>
                  <a:lnTo>
                    <a:pt x="20" y="112"/>
                  </a:lnTo>
                  <a:lnTo>
                    <a:pt x="6" y="94"/>
                  </a:lnTo>
                  <a:lnTo>
                    <a:pt x="0" y="86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88"/>
            <p:cNvSpPr>
              <a:spLocks/>
            </p:cNvSpPr>
            <p:nvPr/>
          </p:nvSpPr>
          <p:spPr bwMode="auto">
            <a:xfrm>
              <a:off x="483406" y="3018197"/>
              <a:ext cx="735452" cy="322881"/>
            </a:xfrm>
            <a:custGeom>
              <a:avLst/>
              <a:gdLst>
                <a:gd name="T0" fmla="*/ 258 w 492"/>
                <a:gd name="T1" fmla="*/ 50 h 216"/>
                <a:gd name="T2" fmla="*/ 214 w 492"/>
                <a:gd name="T3" fmla="*/ 50 h 216"/>
                <a:gd name="T4" fmla="*/ 42 w 492"/>
                <a:gd name="T5" fmla="*/ 10 h 216"/>
                <a:gd name="T6" fmla="*/ 0 w 492"/>
                <a:gd name="T7" fmla="*/ 0 h 216"/>
                <a:gd name="T8" fmla="*/ 26 w 492"/>
                <a:gd name="T9" fmla="*/ 36 h 216"/>
                <a:gd name="T10" fmla="*/ 32 w 492"/>
                <a:gd name="T11" fmla="*/ 50 h 216"/>
                <a:gd name="T12" fmla="*/ 46 w 492"/>
                <a:gd name="T13" fmla="*/ 60 h 216"/>
                <a:gd name="T14" fmla="*/ 52 w 492"/>
                <a:gd name="T15" fmla="*/ 78 h 216"/>
                <a:gd name="T16" fmla="*/ 66 w 492"/>
                <a:gd name="T17" fmla="*/ 102 h 216"/>
                <a:gd name="T18" fmla="*/ 60 w 492"/>
                <a:gd name="T19" fmla="*/ 120 h 216"/>
                <a:gd name="T20" fmla="*/ 72 w 492"/>
                <a:gd name="T21" fmla="*/ 128 h 216"/>
                <a:gd name="T22" fmla="*/ 86 w 492"/>
                <a:gd name="T23" fmla="*/ 128 h 216"/>
                <a:gd name="T24" fmla="*/ 98 w 492"/>
                <a:gd name="T25" fmla="*/ 128 h 216"/>
                <a:gd name="T26" fmla="*/ 114 w 492"/>
                <a:gd name="T27" fmla="*/ 140 h 216"/>
                <a:gd name="T28" fmla="*/ 126 w 492"/>
                <a:gd name="T29" fmla="*/ 146 h 216"/>
                <a:gd name="T30" fmla="*/ 140 w 492"/>
                <a:gd name="T31" fmla="*/ 156 h 216"/>
                <a:gd name="T32" fmla="*/ 168 w 492"/>
                <a:gd name="T33" fmla="*/ 156 h 216"/>
                <a:gd name="T34" fmla="*/ 180 w 492"/>
                <a:gd name="T35" fmla="*/ 146 h 216"/>
                <a:gd name="T36" fmla="*/ 222 w 492"/>
                <a:gd name="T37" fmla="*/ 120 h 216"/>
                <a:gd name="T38" fmla="*/ 236 w 492"/>
                <a:gd name="T39" fmla="*/ 128 h 216"/>
                <a:gd name="T40" fmla="*/ 228 w 492"/>
                <a:gd name="T41" fmla="*/ 146 h 216"/>
                <a:gd name="T42" fmla="*/ 228 w 492"/>
                <a:gd name="T43" fmla="*/ 164 h 216"/>
                <a:gd name="T44" fmla="*/ 236 w 492"/>
                <a:gd name="T45" fmla="*/ 180 h 216"/>
                <a:gd name="T46" fmla="*/ 236 w 492"/>
                <a:gd name="T47" fmla="*/ 216 h 216"/>
                <a:gd name="T48" fmla="*/ 276 w 492"/>
                <a:gd name="T49" fmla="*/ 216 h 216"/>
                <a:gd name="T50" fmla="*/ 288 w 492"/>
                <a:gd name="T51" fmla="*/ 208 h 216"/>
                <a:gd name="T52" fmla="*/ 330 w 492"/>
                <a:gd name="T53" fmla="*/ 208 h 216"/>
                <a:gd name="T54" fmla="*/ 344 w 492"/>
                <a:gd name="T55" fmla="*/ 216 h 216"/>
                <a:gd name="T56" fmla="*/ 368 w 492"/>
                <a:gd name="T57" fmla="*/ 216 h 216"/>
                <a:gd name="T58" fmla="*/ 384 w 492"/>
                <a:gd name="T59" fmla="*/ 198 h 216"/>
                <a:gd name="T60" fmla="*/ 404 w 492"/>
                <a:gd name="T61" fmla="*/ 190 h 216"/>
                <a:gd name="T62" fmla="*/ 418 w 492"/>
                <a:gd name="T63" fmla="*/ 190 h 216"/>
                <a:gd name="T64" fmla="*/ 430 w 492"/>
                <a:gd name="T65" fmla="*/ 180 h 216"/>
                <a:gd name="T66" fmla="*/ 438 w 492"/>
                <a:gd name="T67" fmla="*/ 164 h 216"/>
                <a:gd name="T68" fmla="*/ 452 w 492"/>
                <a:gd name="T69" fmla="*/ 174 h 216"/>
                <a:gd name="T70" fmla="*/ 476 w 492"/>
                <a:gd name="T71" fmla="*/ 156 h 216"/>
                <a:gd name="T72" fmla="*/ 492 w 492"/>
                <a:gd name="T73" fmla="*/ 130 h 216"/>
                <a:gd name="T74" fmla="*/ 492 w 492"/>
                <a:gd name="T75" fmla="*/ 130 h 216"/>
                <a:gd name="T76" fmla="*/ 258 w 492"/>
                <a:gd name="T77" fmla="*/ 5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92" h="216">
                  <a:moveTo>
                    <a:pt x="258" y="50"/>
                  </a:moveTo>
                  <a:lnTo>
                    <a:pt x="214" y="50"/>
                  </a:lnTo>
                  <a:lnTo>
                    <a:pt x="42" y="10"/>
                  </a:lnTo>
                  <a:lnTo>
                    <a:pt x="0" y="0"/>
                  </a:lnTo>
                  <a:lnTo>
                    <a:pt x="26" y="36"/>
                  </a:lnTo>
                  <a:lnTo>
                    <a:pt x="32" y="50"/>
                  </a:lnTo>
                  <a:lnTo>
                    <a:pt x="46" y="60"/>
                  </a:lnTo>
                  <a:lnTo>
                    <a:pt x="52" y="78"/>
                  </a:lnTo>
                  <a:lnTo>
                    <a:pt x="66" y="102"/>
                  </a:lnTo>
                  <a:lnTo>
                    <a:pt x="60" y="120"/>
                  </a:lnTo>
                  <a:lnTo>
                    <a:pt x="72" y="128"/>
                  </a:lnTo>
                  <a:lnTo>
                    <a:pt x="86" y="128"/>
                  </a:lnTo>
                  <a:lnTo>
                    <a:pt x="98" y="128"/>
                  </a:lnTo>
                  <a:lnTo>
                    <a:pt x="114" y="140"/>
                  </a:lnTo>
                  <a:lnTo>
                    <a:pt x="126" y="146"/>
                  </a:lnTo>
                  <a:lnTo>
                    <a:pt x="140" y="156"/>
                  </a:lnTo>
                  <a:lnTo>
                    <a:pt x="168" y="156"/>
                  </a:lnTo>
                  <a:lnTo>
                    <a:pt x="180" y="146"/>
                  </a:lnTo>
                  <a:lnTo>
                    <a:pt x="222" y="120"/>
                  </a:lnTo>
                  <a:lnTo>
                    <a:pt x="236" y="128"/>
                  </a:lnTo>
                  <a:lnTo>
                    <a:pt x="228" y="146"/>
                  </a:lnTo>
                  <a:lnTo>
                    <a:pt x="228" y="164"/>
                  </a:lnTo>
                  <a:lnTo>
                    <a:pt x="236" y="180"/>
                  </a:lnTo>
                  <a:lnTo>
                    <a:pt x="236" y="216"/>
                  </a:lnTo>
                  <a:lnTo>
                    <a:pt x="276" y="216"/>
                  </a:lnTo>
                  <a:lnTo>
                    <a:pt x="288" y="208"/>
                  </a:lnTo>
                  <a:lnTo>
                    <a:pt x="330" y="208"/>
                  </a:lnTo>
                  <a:lnTo>
                    <a:pt x="344" y="216"/>
                  </a:lnTo>
                  <a:lnTo>
                    <a:pt x="368" y="216"/>
                  </a:lnTo>
                  <a:lnTo>
                    <a:pt x="384" y="198"/>
                  </a:lnTo>
                  <a:lnTo>
                    <a:pt x="404" y="190"/>
                  </a:lnTo>
                  <a:lnTo>
                    <a:pt x="418" y="190"/>
                  </a:lnTo>
                  <a:lnTo>
                    <a:pt x="430" y="180"/>
                  </a:lnTo>
                  <a:lnTo>
                    <a:pt x="438" y="164"/>
                  </a:lnTo>
                  <a:lnTo>
                    <a:pt x="452" y="174"/>
                  </a:lnTo>
                  <a:lnTo>
                    <a:pt x="476" y="156"/>
                  </a:lnTo>
                  <a:lnTo>
                    <a:pt x="492" y="130"/>
                  </a:lnTo>
                  <a:lnTo>
                    <a:pt x="492" y="130"/>
                  </a:lnTo>
                  <a:lnTo>
                    <a:pt x="258" y="5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89"/>
            <p:cNvSpPr>
              <a:spLocks/>
            </p:cNvSpPr>
            <p:nvPr/>
          </p:nvSpPr>
          <p:spPr bwMode="auto">
            <a:xfrm>
              <a:off x="483406" y="2010688"/>
              <a:ext cx="1733991" cy="1204825"/>
            </a:xfrm>
            <a:custGeom>
              <a:avLst/>
              <a:gdLst>
                <a:gd name="T0" fmla="*/ 1140 w 1160"/>
                <a:gd name="T1" fmla="*/ 276 h 806"/>
                <a:gd name="T2" fmla="*/ 1100 w 1160"/>
                <a:gd name="T3" fmla="*/ 248 h 806"/>
                <a:gd name="T4" fmla="*/ 1064 w 1160"/>
                <a:gd name="T5" fmla="*/ 240 h 806"/>
                <a:gd name="T6" fmla="*/ 1018 w 1160"/>
                <a:gd name="T7" fmla="*/ 224 h 806"/>
                <a:gd name="T8" fmla="*/ 998 w 1160"/>
                <a:gd name="T9" fmla="*/ 172 h 806"/>
                <a:gd name="T10" fmla="*/ 984 w 1160"/>
                <a:gd name="T11" fmla="*/ 126 h 806"/>
                <a:gd name="T12" fmla="*/ 910 w 1160"/>
                <a:gd name="T13" fmla="*/ 154 h 806"/>
                <a:gd name="T14" fmla="*/ 896 w 1160"/>
                <a:gd name="T15" fmla="*/ 198 h 806"/>
                <a:gd name="T16" fmla="*/ 856 w 1160"/>
                <a:gd name="T17" fmla="*/ 188 h 806"/>
                <a:gd name="T18" fmla="*/ 814 w 1160"/>
                <a:gd name="T19" fmla="*/ 198 h 806"/>
                <a:gd name="T20" fmla="*/ 796 w 1160"/>
                <a:gd name="T21" fmla="*/ 232 h 806"/>
                <a:gd name="T22" fmla="*/ 754 w 1160"/>
                <a:gd name="T23" fmla="*/ 198 h 806"/>
                <a:gd name="T24" fmla="*/ 754 w 1160"/>
                <a:gd name="T25" fmla="*/ 146 h 806"/>
                <a:gd name="T26" fmla="*/ 734 w 1160"/>
                <a:gd name="T27" fmla="*/ 86 h 806"/>
                <a:gd name="T28" fmla="*/ 714 w 1160"/>
                <a:gd name="T29" fmla="*/ 32 h 806"/>
                <a:gd name="T30" fmla="*/ 694 w 1160"/>
                <a:gd name="T31" fmla="*/ 0 h 806"/>
                <a:gd name="T32" fmla="*/ 626 w 1160"/>
                <a:gd name="T33" fmla="*/ 50 h 806"/>
                <a:gd name="T34" fmla="*/ 594 w 1160"/>
                <a:gd name="T35" fmla="*/ 76 h 806"/>
                <a:gd name="T36" fmla="*/ 546 w 1160"/>
                <a:gd name="T37" fmla="*/ 112 h 806"/>
                <a:gd name="T38" fmla="*/ 476 w 1160"/>
                <a:gd name="T39" fmla="*/ 92 h 806"/>
                <a:gd name="T40" fmla="*/ 438 w 1160"/>
                <a:gd name="T41" fmla="*/ 86 h 806"/>
                <a:gd name="T42" fmla="*/ 430 w 1160"/>
                <a:gd name="T43" fmla="*/ 32 h 806"/>
                <a:gd name="T44" fmla="*/ 390 w 1160"/>
                <a:gd name="T45" fmla="*/ 42 h 806"/>
                <a:gd name="T46" fmla="*/ 348 w 1160"/>
                <a:gd name="T47" fmla="*/ 32 h 806"/>
                <a:gd name="T48" fmla="*/ 324 w 1160"/>
                <a:gd name="T49" fmla="*/ 50 h 806"/>
                <a:gd name="T50" fmla="*/ 282 w 1160"/>
                <a:gd name="T51" fmla="*/ 42 h 806"/>
                <a:gd name="T52" fmla="*/ 248 w 1160"/>
                <a:gd name="T53" fmla="*/ 76 h 806"/>
                <a:gd name="T54" fmla="*/ 282 w 1160"/>
                <a:gd name="T55" fmla="*/ 102 h 806"/>
                <a:gd name="T56" fmla="*/ 282 w 1160"/>
                <a:gd name="T57" fmla="*/ 126 h 806"/>
                <a:gd name="T58" fmla="*/ 248 w 1160"/>
                <a:gd name="T59" fmla="*/ 162 h 806"/>
                <a:gd name="T60" fmla="*/ 276 w 1160"/>
                <a:gd name="T61" fmla="*/ 232 h 806"/>
                <a:gd name="T62" fmla="*/ 268 w 1160"/>
                <a:gd name="T63" fmla="*/ 378 h 806"/>
                <a:gd name="T64" fmla="*/ 256 w 1160"/>
                <a:gd name="T65" fmla="*/ 432 h 806"/>
                <a:gd name="T66" fmla="*/ 196 w 1160"/>
                <a:gd name="T67" fmla="*/ 448 h 806"/>
                <a:gd name="T68" fmla="*/ 126 w 1160"/>
                <a:gd name="T69" fmla="*/ 466 h 806"/>
                <a:gd name="T70" fmla="*/ 86 w 1160"/>
                <a:gd name="T71" fmla="*/ 500 h 806"/>
                <a:gd name="T72" fmla="*/ 46 w 1160"/>
                <a:gd name="T73" fmla="*/ 570 h 806"/>
                <a:gd name="T74" fmla="*/ 26 w 1160"/>
                <a:gd name="T75" fmla="*/ 612 h 806"/>
                <a:gd name="T76" fmla="*/ 0 w 1160"/>
                <a:gd name="T77" fmla="*/ 654 h 806"/>
                <a:gd name="T78" fmla="*/ 214 w 1160"/>
                <a:gd name="T79" fmla="*/ 724 h 806"/>
                <a:gd name="T80" fmla="*/ 492 w 1160"/>
                <a:gd name="T81" fmla="*/ 804 h 806"/>
                <a:gd name="T82" fmla="*/ 532 w 1160"/>
                <a:gd name="T83" fmla="*/ 776 h 806"/>
                <a:gd name="T84" fmla="*/ 572 w 1160"/>
                <a:gd name="T85" fmla="*/ 776 h 806"/>
                <a:gd name="T86" fmla="*/ 600 w 1160"/>
                <a:gd name="T87" fmla="*/ 768 h 806"/>
                <a:gd name="T88" fmla="*/ 626 w 1160"/>
                <a:gd name="T89" fmla="*/ 742 h 806"/>
                <a:gd name="T90" fmla="*/ 660 w 1160"/>
                <a:gd name="T91" fmla="*/ 716 h 806"/>
                <a:gd name="T92" fmla="*/ 694 w 1160"/>
                <a:gd name="T93" fmla="*/ 698 h 806"/>
                <a:gd name="T94" fmla="*/ 734 w 1160"/>
                <a:gd name="T95" fmla="*/ 692 h 806"/>
                <a:gd name="T96" fmla="*/ 774 w 1160"/>
                <a:gd name="T97" fmla="*/ 716 h 806"/>
                <a:gd name="T98" fmla="*/ 814 w 1160"/>
                <a:gd name="T99" fmla="*/ 724 h 806"/>
                <a:gd name="T100" fmla="*/ 936 w 1160"/>
                <a:gd name="T101" fmla="*/ 716 h 806"/>
                <a:gd name="T102" fmla="*/ 992 w 1160"/>
                <a:gd name="T103" fmla="*/ 724 h 806"/>
                <a:gd name="T104" fmla="*/ 1032 w 1160"/>
                <a:gd name="T105" fmla="*/ 710 h 806"/>
                <a:gd name="T106" fmla="*/ 1060 w 1160"/>
                <a:gd name="T107" fmla="*/ 632 h 806"/>
                <a:gd name="T108" fmla="*/ 1160 w 1160"/>
                <a:gd name="T109" fmla="*/ 28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60" h="806">
                  <a:moveTo>
                    <a:pt x="1160" y="286"/>
                  </a:moveTo>
                  <a:lnTo>
                    <a:pt x="1160" y="268"/>
                  </a:lnTo>
                  <a:lnTo>
                    <a:pt x="1140" y="276"/>
                  </a:lnTo>
                  <a:lnTo>
                    <a:pt x="1120" y="276"/>
                  </a:lnTo>
                  <a:lnTo>
                    <a:pt x="1106" y="268"/>
                  </a:lnTo>
                  <a:lnTo>
                    <a:pt x="1100" y="248"/>
                  </a:lnTo>
                  <a:lnTo>
                    <a:pt x="1094" y="240"/>
                  </a:lnTo>
                  <a:lnTo>
                    <a:pt x="1080" y="240"/>
                  </a:lnTo>
                  <a:lnTo>
                    <a:pt x="1064" y="240"/>
                  </a:lnTo>
                  <a:lnTo>
                    <a:pt x="1052" y="240"/>
                  </a:lnTo>
                  <a:lnTo>
                    <a:pt x="1032" y="232"/>
                  </a:lnTo>
                  <a:lnTo>
                    <a:pt x="1018" y="224"/>
                  </a:lnTo>
                  <a:lnTo>
                    <a:pt x="1018" y="208"/>
                  </a:lnTo>
                  <a:lnTo>
                    <a:pt x="1004" y="188"/>
                  </a:lnTo>
                  <a:lnTo>
                    <a:pt x="998" y="172"/>
                  </a:lnTo>
                  <a:lnTo>
                    <a:pt x="992" y="154"/>
                  </a:lnTo>
                  <a:lnTo>
                    <a:pt x="984" y="136"/>
                  </a:lnTo>
                  <a:lnTo>
                    <a:pt x="984" y="126"/>
                  </a:lnTo>
                  <a:lnTo>
                    <a:pt x="930" y="126"/>
                  </a:lnTo>
                  <a:lnTo>
                    <a:pt x="916" y="136"/>
                  </a:lnTo>
                  <a:lnTo>
                    <a:pt x="910" y="154"/>
                  </a:lnTo>
                  <a:lnTo>
                    <a:pt x="904" y="172"/>
                  </a:lnTo>
                  <a:lnTo>
                    <a:pt x="890" y="180"/>
                  </a:lnTo>
                  <a:lnTo>
                    <a:pt x="896" y="198"/>
                  </a:lnTo>
                  <a:lnTo>
                    <a:pt x="882" y="208"/>
                  </a:lnTo>
                  <a:lnTo>
                    <a:pt x="870" y="208"/>
                  </a:lnTo>
                  <a:lnTo>
                    <a:pt x="856" y="188"/>
                  </a:lnTo>
                  <a:lnTo>
                    <a:pt x="842" y="188"/>
                  </a:lnTo>
                  <a:lnTo>
                    <a:pt x="828" y="188"/>
                  </a:lnTo>
                  <a:lnTo>
                    <a:pt x="814" y="198"/>
                  </a:lnTo>
                  <a:lnTo>
                    <a:pt x="808" y="214"/>
                  </a:lnTo>
                  <a:lnTo>
                    <a:pt x="802" y="232"/>
                  </a:lnTo>
                  <a:lnTo>
                    <a:pt x="796" y="232"/>
                  </a:lnTo>
                  <a:lnTo>
                    <a:pt x="782" y="224"/>
                  </a:lnTo>
                  <a:lnTo>
                    <a:pt x="768" y="214"/>
                  </a:lnTo>
                  <a:lnTo>
                    <a:pt x="754" y="198"/>
                  </a:lnTo>
                  <a:lnTo>
                    <a:pt x="754" y="180"/>
                  </a:lnTo>
                  <a:lnTo>
                    <a:pt x="762" y="162"/>
                  </a:lnTo>
                  <a:lnTo>
                    <a:pt x="754" y="146"/>
                  </a:lnTo>
                  <a:lnTo>
                    <a:pt x="754" y="112"/>
                  </a:lnTo>
                  <a:lnTo>
                    <a:pt x="746" y="92"/>
                  </a:lnTo>
                  <a:lnTo>
                    <a:pt x="734" y="86"/>
                  </a:lnTo>
                  <a:lnTo>
                    <a:pt x="720" y="68"/>
                  </a:lnTo>
                  <a:lnTo>
                    <a:pt x="720" y="50"/>
                  </a:lnTo>
                  <a:lnTo>
                    <a:pt x="714" y="32"/>
                  </a:lnTo>
                  <a:lnTo>
                    <a:pt x="708" y="16"/>
                  </a:lnTo>
                  <a:lnTo>
                    <a:pt x="708" y="0"/>
                  </a:lnTo>
                  <a:lnTo>
                    <a:pt x="694" y="0"/>
                  </a:lnTo>
                  <a:lnTo>
                    <a:pt x="666" y="16"/>
                  </a:lnTo>
                  <a:lnTo>
                    <a:pt x="640" y="16"/>
                  </a:lnTo>
                  <a:lnTo>
                    <a:pt x="626" y="50"/>
                  </a:lnTo>
                  <a:lnTo>
                    <a:pt x="618" y="68"/>
                  </a:lnTo>
                  <a:lnTo>
                    <a:pt x="608" y="68"/>
                  </a:lnTo>
                  <a:lnTo>
                    <a:pt x="594" y="76"/>
                  </a:lnTo>
                  <a:lnTo>
                    <a:pt x="580" y="76"/>
                  </a:lnTo>
                  <a:lnTo>
                    <a:pt x="572" y="92"/>
                  </a:lnTo>
                  <a:lnTo>
                    <a:pt x="546" y="112"/>
                  </a:lnTo>
                  <a:lnTo>
                    <a:pt x="532" y="102"/>
                  </a:lnTo>
                  <a:lnTo>
                    <a:pt x="490" y="102"/>
                  </a:lnTo>
                  <a:lnTo>
                    <a:pt x="476" y="92"/>
                  </a:lnTo>
                  <a:lnTo>
                    <a:pt x="464" y="86"/>
                  </a:lnTo>
                  <a:lnTo>
                    <a:pt x="452" y="86"/>
                  </a:lnTo>
                  <a:lnTo>
                    <a:pt x="438" y="86"/>
                  </a:lnTo>
                  <a:lnTo>
                    <a:pt x="430" y="68"/>
                  </a:lnTo>
                  <a:lnTo>
                    <a:pt x="430" y="50"/>
                  </a:lnTo>
                  <a:lnTo>
                    <a:pt x="430" y="32"/>
                  </a:lnTo>
                  <a:lnTo>
                    <a:pt x="418" y="16"/>
                  </a:lnTo>
                  <a:lnTo>
                    <a:pt x="404" y="32"/>
                  </a:lnTo>
                  <a:lnTo>
                    <a:pt x="390" y="42"/>
                  </a:lnTo>
                  <a:lnTo>
                    <a:pt x="378" y="42"/>
                  </a:lnTo>
                  <a:lnTo>
                    <a:pt x="362" y="32"/>
                  </a:lnTo>
                  <a:lnTo>
                    <a:pt x="348" y="32"/>
                  </a:lnTo>
                  <a:lnTo>
                    <a:pt x="344" y="50"/>
                  </a:lnTo>
                  <a:lnTo>
                    <a:pt x="336" y="50"/>
                  </a:lnTo>
                  <a:lnTo>
                    <a:pt x="324" y="50"/>
                  </a:lnTo>
                  <a:lnTo>
                    <a:pt x="310" y="50"/>
                  </a:lnTo>
                  <a:lnTo>
                    <a:pt x="296" y="42"/>
                  </a:lnTo>
                  <a:lnTo>
                    <a:pt x="282" y="42"/>
                  </a:lnTo>
                  <a:lnTo>
                    <a:pt x="268" y="42"/>
                  </a:lnTo>
                  <a:lnTo>
                    <a:pt x="256" y="60"/>
                  </a:lnTo>
                  <a:lnTo>
                    <a:pt x="248" y="76"/>
                  </a:lnTo>
                  <a:lnTo>
                    <a:pt x="256" y="92"/>
                  </a:lnTo>
                  <a:lnTo>
                    <a:pt x="268" y="92"/>
                  </a:lnTo>
                  <a:lnTo>
                    <a:pt x="282" y="102"/>
                  </a:lnTo>
                  <a:lnTo>
                    <a:pt x="296" y="102"/>
                  </a:lnTo>
                  <a:lnTo>
                    <a:pt x="296" y="120"/>
                  </a:lnTo>
                  <a:lnTo>
                    <a:pt x="282" y="126"/>
                  </a:lnTo>
                  <a:lnTo>
                    <a:pt x="268" y="120"/>
                  </a:lnTo>
                  <a:lnTo>
                    <a:pt x="240" y="146"/>
                  </a:lnTo>
                  <a:lnTo>
                    <a:pt x="248" y="162"/>
                  </a:lnTo>
                  <a:lnTo>
                    <a:pt x="248" y="180"/>
                  </a:lnTo>
                  <a:lnTo>
                    <a:pt x="256" y="198"/>
                  </a:lnTo>
                  <a:lnTo>
                    <a:pt x="276" y="232"/>
                  </a:lnTo>
                  <a:lnTo>
                    <a:pt x="276" y="308"/>
                  </a:lnTo>
                  <a:lnTo>
                    <a:pt x="268" y="336"/>
                  </a:lnTo>
                  <a:lnTo>
                    <a:pt x="268" y="378"/>
                  </a:lnTo>
                  <a:lnTo>
                    <a:pt x="262" y="396"/>
                  </a:lnTo>
                  <a:lnTo>
                    <a:pt x="262" y="414"/>
                  </a:lnTo>
                  <a:lnTo>
                    <a:pt x="256" y="432"/>
                  </a:lnTo>
                  <a:lnTo>
                    <a:pt x="228" y="448"/>
                  </a:lnTo>
                  <a:lnTo>
                    <a:pt x="216" y="448"/>
                  </a:lnTo>
                  <a:lnTo>
                    <a:pt x="196" y="448"/>
                  </a:lnTo>
                  <a:lnTo>
                    <a:pt x="180" y="456"/>
                  </a:lnTo>
                  <a:lnTo>
                    <a:pt x="168" y="466"/>
                  </a:lnTo>
                  <a:lnTo>
                    <a:pt x="126" y="466"/>
                  </a:lnTo>
                  <a:lnTo>
                    <a:pt x="114" y="476"/>
                  </a:lnTo>
                  <a:lnTo>
                    <a:pt x="98" y="492"/>
                  </a:lnTo>
                  <a:lnTo>
                    <a:pt x="86" y="500"/>
                  </a:lnTo>
                  <a:lnTo>
                    <a:pt x="72" y="518"/>
                  </a:lnTo>
                  <a:lnTo>
                    <a:pt x="52" y="552"/>
                  </a:lnTo>
                  <a:lnTo>
                    <a:pt x="46" y="570"/>
                  </a:lnTo>
                  <a:lnTo>
                    <a:pt x="46" y="586"/>
                  </a:lnTo>
                  <a:lnTo>
                    <a:pt x="38" y="612"/>
                  </a:lnTo>
                  <a:lnTo>
                    <a:pt x="26" y="612"/>
                  </a:lnTo>
                  <a:lnTo>
                    <a:pt x="12" y="622"/>
                  </a:lnTo>
                  <a:lnTo>
                    <a:pt x="4" y="640"/>
                  </a:lnTo>
                  <a:lnTo>
                    <a:pt x="0" y="654"/>
                  </a:lnTo>
                  <a:lnTo>
                    <a:pt x="0" y="674"/>
                  </a:lnTo>
                  <a:lnTo>
                    <a:pt x="42" y="684"/>
                  </a:lnTo>
                  <a:lnTo>
                    <a:pt x="214" y="724"/>
                  </a:lnTo>
                  <a:lnTo>
                    <a:pt x="258" y="724"/>
                  </a:lnTo>
                  <a:lnTo>
                    <a:pt x="496" y="806"/>
                  </a:lnTo>
                  <a:lnTo>
                    <a:pt x="492" y="804"/>
                  </a:lnTo>
                  <a:lnTo>
                    <a:pt x="512" y="776"/>
                  </a:lnTo>
                  <a:lnTo>
                    <a:pt x="518" y="776"/>
                  </a:lnTo>
                  <a:lnTo>
                    <a:pt x="532" y="776"/>
                  </a:lnTo>
                  <a:lnTo>
                    <a:pt x="546" y="776"/>
                  </a:lnTo>
                  <a:lnTo>
                    <a:pt x="562" y="788"/>
                  </a:lnTo>
                  <a:lnTo>
                    <a:pt x="572" y="776"/>
                  </a:lnTo>
                  <a:lnTo>
                    <a:pt x="584" y="776"/>
                  </a:lnTo>
                  <a:lnTo>
                    <a:pt x="590" y="788"/>
                  </a:lnTo>
                  <a:lnTo>
                    <a:pt x="600" y="768"/>
                  </a:lnTo>
                  <a:lnTo>
                    <a:pt x="608" y="752"/>
                  </a:lnTo>
                  <a:lnTo>
                    <a:pt x="612" y="734"/>
                  </a:lnTo>
                  <a:lnTo>
                    <a:pt x="626" y="742"/>
                  </a:lnTo>
                  <a:lnTo>
                    <a:pt x="640" y="742"/>
                  </a:lnTo>
                  <a:lnTo>
                    <a:pt x="654" y="734"/>
                  </a:lnTo>
                  <a:lnTo>
                    <a:pt x="660" y="716"/>
                  </a:lnTo>
                  <a:lnTo>
                    <a:pt x="666" y="698"/>
                  </a:lnTo>
                  <a:lnTo>
                    <a:pt x="680" y="692"/>
                  </a:lnTo>
                  <a:lnTo>
                    <a:pt x="694" y="698"/>
                  </a:lnTo>
                  <a:lnTo>
                    <a:pt x="708" y="682"/>
                  </a:lnTo>
                  <a:lnTo>
                    <a:pt x="720" y="692"/>
                  </a:lnTo>
                  <a:lnTo>
                    <a:pt x="734" y="692"/>
                  </a:lnTo>
                  <a:lnTo>
                    <a:pt x="746" y="698"/>
                  </a:lnTo>
                  <a:lnTo>
                    <a:pt x="762" y="710"/>
                  </a:lnTo>
                  <a:lnTo>
                    <a:pt x="774" y="716"/>
                  </a:lnTo>
                  <a:lnTo>
                    <a:pt x="788" y="716"/>
                  </a:lnTo>
                  <a:lnTo>
                    <a:pt x="802" y="716"/>
                  </a:lnTo>
                  <a:lnTo>
                    <a:pt x="814" y="724"/>
                  </a:lnTo>
                  <a:lnTo>
                    <a:pt x="896" y="724"/>
                  </a:lnTo>
                  <a:lnTo>
                    <a:pt x="916" y="716"/>
                  </a:lnTo>
                  <a:lnTo>
                    <a:pt x="936" y="716"/>
                  </a:lnTo>
                  <a:lnTo>
                    <a:pt x="956" y="724"/>
                  </a:lnTo>
                  <a:lnTo>
                    <a:pt x="970" y="724"/>
                  </a:lnTo>
                  <a:lnTo>
                    <a:pt x="992" y="724"/>
                  </a:lnTo>
                  <a:lnTo>
                    <a:pt x="1012" y="716"/>
                  </a:lnTo>
                  <a:lnTo>
                    <a:pt x="1026" y="716"/>
                  </a:lnTo>
                  <a:lnTo>
                    <a:pt x="1032" y="710"/>
                  </a:lnTo>
                  <a:lnTo>
                    <a:pt x="1032" y="692"/>
                  </a:lnTo>
                  <a:lnTo>
                    <a:pt x="1054" y="640"/>
                  </a:lnTo>
                  <a:lnTo>
                    <a:pt x="1060" y="632"/>
                  </a:lnTo>
                  <a:lnTo>
                    <a:pt x="1038" y="594"/>
                  </a:lnTo>
                  <a:lnTo>
                    <a:pt x="1038" y="578"/>
                  </a:lnTo>
                  <a:lnTo>
                    <a:pt x="1160" y="286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90"/>
            <p:cNvSpPr>
              <a:spLocks/>
            </p:cNvSpPr>
            <p:nvPr/>
          </p:nvSpPr>
          <p:spPr bwMode="auto">
            <a:xfrm>
              <a:off x="3993244" y="3248399"/>
              <a:ext cx="185358" cy="146492"/>
            </a:xfrm>
            <a:custGeom>
              <a:avLst/>
              <a:gdLst>
                <a:gd name="T0" fmla="*/ 120 w 124"/>
                <a:gd name="T1" fmla="*/ 30 h 98"/>
                <a:gd name="T2" fmla="*/ 118 w 124"/>
                <a:gd name="T3" fmla="*/ 30 h 98"/>
                <a:gd name="T4" fmla="*/ 114 w 124"/>
                <a:gd name="T5" fmla="*/ 26 h 98"/>
                <a:gd name="T6" fmla="*/ 110 w 124"/>
                <a:gd name="T7" fmla="*/ 24 h 98"/>
                <a:gd name="T8" fmla="*/ 104 w 124"/>
                <a:gd name="T9" fmla="*/ 20 h 98"/>
                <a:gd name="T10" fmla="*/ 96 w 124"/>
                <a:gd name="T11" fmla="*/ 16 h 98"/>
                <a:gd name="T12" fmla="*/ 90 w 124"/>
                <a:gd name="T13" fmla="*/ 12 h 98"/>
                <a:gd name="T14" fmla="*/ 84 w 124"/>
                <a:gd name="T15" fmla="*/ 8 h 98"/>
                <a:gd name="T16" fmla="*/ 78 w 124"/>
                <a:gd name="T17" fmla="*/ 8 h 98"/>
                <a:gd name="T18" fmla="*/ 76 w 124"/>
                <a:gd name="T19" fmla="*/ 8 h 98"/>
                <a:gd name="T20" fmla="*/ 74 w 124"/>
                <a:gd name="T21" fmla="*/ 8 h 98"/>
                <a:gd name="T22" fmla="*/ 72 w 124"/>
                <a:gd name="T23" fmla="*/ 8 h 98"/>
                <a:gd name="T24" fmla="*/ 70 w 124"/>
                <a:gd name="T25" fmla="*/ 10 h 98"/>
                <a:gd name="T26" fmla="*/ 66 w 124"/>
                <a:gd name="T27" fmla="*/ 10 h 98"/>
                <a:gd name="T28" fmla="*/ 64 w 124"/>
                <a:gd name="T29" fmla="*/ 12 h 98"/>
                <a:gd name="T30" fmla="*/ 60 w 124"/>
                <a:gd name="T31" fmla="*/ 12 h 98"/>
                <a:gd name="T32" fmla="*/ 58 w 124"/>
                <a:gd name="T33" fmla="*/ 12 h 98"/>
                <a:gd name="T34" fmla="*/ 54 w 124"/>
                <a:gd name="T35" fmla="*/ 12 h 98"/>
                <a:gd name="T36" fmla="*/ 48 w 124"/>
                <a:gd name="T37" fmla="*/ 10 h 98"/>
                <a:gd name="T38" fmla="*/ 44 w 124"/>
                <a:gd name="T39" fmla="*/ 8 h 98"/>
                <a:gd name="T40" fmla="*/ 40 w 124"/>
                <a:gd name="T41" fmla="*/ 6 h 98"/>
                <a:gd name="T42" fmla="*/ 36 w 124"/>
                <a:gd name="T43" fmla="*/ 4 h 98"/>
                <a:gd name="T44" fmla="*/ 32 w 124"/>
                <a:gd name="T45" fmla="*/ 2 h 98"/>
                <a:gd name="T46" fmla="*/ 30 w 124"/>
                <a:gd name="T47" fmla="*/ 2 h 98"/>
                <a:gd name="T48" fmla="*/ 28 w 124"/>
                <a:gd name="T49" fmla="*/ 0 h 98"/>
                <a:gd name="T50" fmla="*/ 22 w 124"/>
                <a:gd name="T51" fmla="*/ 28 h 98"/>
                <a:gd name="T52" fmla="*/ 0 w 124"/>
                <a:gd name="T53" fmla="*/ 46 h 98"/>
                <a:gd name="T54" fmla="*/ 8 w 124"/>
                <a:gd name="T55" fmla="*/ 82 h 98"/>
                <a:gd name="T56" fmla="*/ 34 w 124"/>
                <a:gd name="T57" fmla="*/ 98 h 98"/>
                <a:gd name="T58" fmla="*/ 52 w 124"/>
                <a:gd name="T59" fmla="*/ 98 h 98"/>
                <a:gd name="T60" fmla="*/ 62 w 124"/>
                <a:gd name="T61" fmla="*/ 82 h 98"/>
                <a:gd name="T62" fmla="*/ 90 w 124"/>
                <a:gd name="T63" fmla="*/ 50 h 98"/>
                <a:gd name="T64" fmla="*/ 112 w 124"/>
                <a:gd name="T65" fmla="*/ 40 h 98"/>
                <a:gd name="T66" fmla="*/ 124 w 124"/>
                <a:gd name="T67" fmla="*/ 2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4" h="98">
                  <a:moveTo>
                    <a:pt x="124" y="28"/>
                  </a:moveTo>
                  <a:lnTo>
                    <a:pt x="120" y="3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2" y="26"/>
                  </a:lnTo>
                  <a:lnTo>
                    <a:pt x="110" y="24"/>
                  </a:lnTo>
                  <a:lnTo>
                    <a:pt x="106" y="22"/>
                  </a:lnTo>
                  <a:lnTo>
                    <a:pt x="104" y="20"/>
                  </a:lnTo>
                  <a:lnTo>
                    <a:pt x="100" y="18"/>
                  </a:lnTo>
                  <a:lnTo>
                    <a:pt x="96" y="16"/>
                  </a:lnTo>
                  <a:lnTo>
                    <a:pt x="92" y="14"/>
                  </a:lnTo>
                  <a:lnTo>
                    <a:pt x="90" y="12"/>
                  </a:lnTo>
                  <a:lnTo>
                    <a:pt x="86" y="10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2" y="8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0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8" y="12"/>
                  </a:lnTo>
                  <a:lnTo>
                    <a:pt x="22" y="28"/>
                  </a:lnTo>
                  <a:lnTo>
                    <a:pt x="14" y="46"/>
                  </a:lnTo>
                  <a:lnTo>
                    <a:pt x="0" y="46"/>
                  </a:lnTo>
                  <a:lnTo>
                    <a:pt x="0" y="62"/>
                  </a:lnTo>
                  <a:lnTo>
                    <a:pt x="8" y="82"/>
                  </a:lnTo>
                  <a:lnTo>
                    <a:pt x="22" y="90"/>
                  </a:lnTo>
                  <a:lnTo>
                    <a:pt x="34" y="98"/>
                  </a:lnTo>
                  <a:lnTo>
                    <a:pt x="48" y="98"/>
                  </a:lnTo>
                  <a:lnTo>
                    <a:pt x="52" y="98"/>
                  </a:lnTo>
                  <a:lnTo>
                    <a:pt x="56" y="98"/>
                  </a:lnTo>
                  <a:lnTo>
                    <a:pt x="62" y="82"/>
                  </a:lnTo>
                  <a:lnTo>
                    <a:pt x="78" y="62"/>
                  </a:lnTo>
                  <a:lnTo>
                    <a:pt x="90" y="50"/>
                  </a:lnTo>
                  <a:lnTo>
                    <a:pt x="104" y="46"/>
                  </a:lnTo>
                  <a:lnTo>
                    <a:pt x="112" y="40"/>
                  </a:lnTo>
                  <a:lnTo>
                    <a:pt x="110" y="38"/>
                  </a:lnTo>
                  <a:lnTo>
                    <a:pt x="124" y="28"/>
                  </a:lnTo>
                  <a:lnTo>
                    <a:pt x="124" y="28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91"/>
            <p:cNvSpPr>
              <a:spLocks/>
            </p:cNvSpPr>
            <p:nvPr/>
          </p:nvSpPr>
          <p:spPr bwMode="auto">
            <a:xfrm>
              <a:off x="2531310" y="3469632"/>
              <a:ext cx="708545" cy="681638"/>
            </a:xfrm>
            <a:custGeom>
              <a:avLst/>
              <a:gdLst>
                <a:gd name="T0" fmla="*/ 386 w 474"/>
                <a:gd name="T1" fmla="*/ 286 h 456"/>
                <a:gd name="T2" fmla="*/ 366 w 474"/>
                <a:gd name="T3" fmla="*/ 252 h 456"/>
                <a:gd name="T4" fmla="*/ 386 w 474"/>
                <a:gd name="T5" fmla="*/ 216 h 456"/>
                <a:gd name="T6" fmla="*/ 412 w 474"/>
                <a:gd name="T7" fmla="*/ 198 h 456"/>
                <a:gd name="T8" fmla="*/ 412 w 474"/>
                <a:gd name="T9" fmla="*/ 166 h 456"/>
                <a:gd name="T10" fmla="*/ 426 w 474"/>
                <a:gd name="T11" fmla="*/ 148 h 456"/>
                <a:gd name="T12" fmla="*/ 454 w 474"/>
                <a:gd name="T13" fmla="*/ 156 h 456"/>
                <a:gd name="T14" fmla="*/ 454 w 474"/>
                <a:gd name="T15" fmla="*/ 156 h 456"/>
                <a:gd name="T16" fmla="*/ 474 w 474"/>
                <a:gd name="T17" fmla="*/ 132 h 456"/>
                <a:gd name="T18" fmla="*/ 462 w 474"/>
                <a:gd name="T19" fmla="*/ 104 h 456"/>
                <a:gd name="T20" fmla="*/ 446 w 474"/>
                <a:gd name="T21" fmla="*/ 80 h 456"/>
                <a:gd name="T22" fmla="*/ 446 w 474"/>
                <a:gd name="T23" fmla="*/ 66 h 456"/>
                <a:gd name="T24" fmla="*/ 364 w 474"/>
                <a:gd name="T25" fmla="*/ 46 h 456"/>
                <a:gd name="T26" fmla="*/ 288 w 474"/>
                <a:gd name="T27" fmla="*/ 54 h 456"/>
                <a:gd name="T28" fmla="*/ 254 w 474"/>
                <a:gd name="T29" fmla="*/ 28 h 456"/>
                <a:gd name="T30" fmla="*/ 170 w 474"/>
                <a:gd name="T31" fmla="*/ 12 h 456"/>
                <a:gd name="T32" fmla="*/ 168 w 474"/>
                <a:gd name="T33" fmla="*/ 26 h 456"/>
                <a:gd name="T34" fmla="*/ 162 w 474"/>
                <a:gd name="T35" fmla="*/ 62 h 456"/>
                <a:gd name="T36" fmla="*/ 148 w 474"/>
                <a:gd name="T37" fmla="*/ 96 h 456"/>
                <a:gd name="T38" fmla="*/ 142 w 474"/>
                <a:gd name="T39" fmla="*/ 132 h 456"/>
                <a:gd name="T40" fmla="*/ 120 w 474"/>
                <a:gd name="T41" fmla="*/ 148 h 456"/>
                <a:gd name="T42" fmla="*/ 96 w 474"/>
                <a:gd name="T43" fmla="*/ 174 h 456"/>
                <a:gd name="T44" fmla="*/ 82 w 474"/>
                <a:gd name="T45" fmla="*/ 200 h 456"/>
                <a:gd name="T46" fmla="*/ 54 w 474"/>
                <a:gd name="T47" fmla="*/ 208 h 456"/>
                <a:gd name="T48" fmla="*/ 40 w 474"/>
                <a:gd name="T49" fmla="*/ 244 h 456"/>
                <a:gd name="T50" fmla="*/ 20 w 474"/>
                <a:gd name="T51" fmla="*/ 278 h 456"/>
                <a:gd name="T52" fmla="*/ 0 w 474"/>
                <a:gd name="T53" fmla="*/ 312 h 456"/>
                <a:gd name="T54" fmla="*/ 0 w 474"/>
                <a:gd name="T55" fmla="*/ 346 h 456"/>
                <a:gd name="T56" fmla="*/ 0 w 474"/>
                <a:gd name="T57" fmla="*/ 356 h 456"/>
                <a:gd name="T58" fmla="*/ 28 w 474"/>
                <a:gd name="T59" fmla="*/ 382 h 456"/>
                <a:gd name="T60" fmla="*/ 56 w 474"/>
                <a:gd name="T61" fmla="*/ 390 h 456"/>
                <a:gd name="T62" fmla="*/ 84 w 474"/>
                <a:gd name="T63" fmla="*/ 416 h 456"/>
                <a:gd name="T64" fmla="*/ 110 w 474"/>
                <a:gd name="T65" fmla="*/ 416 h 456"/>
                <a:gd name="T66" fmla="*/ 136 w 474"/>
                <a:gd name="T67" fmla="*/ 426 h 456"/>
                <a:gd name="T68" fmla="*/ 138 w 474"/>
                <a:gd name="T69" fmla="*/ 456 h 456"/>
                <a:gd name="T70" fmla="*/ 154 w 474"/>
                <a:gd name="T71" fmla="*/ 440 h 456"/>
                <a:gd name="T72" fmla="*/ 168 w 474"/>
                <a:gd name="T73" fmla="*/ 408 h 456"/>
                <a:gd name="T74" fmla="*/ 196 w 474"/>
                <a:gd name="T75" fmla="*/ 392 h 456"/>
                <a:gd name="T76" fmla="*/ 224 w 474"/>
                <a:gd name="T77" fmla="*/ 382 h 456"/>
                <a:gd name="T78" fmla="*/ 250 w 474"/>
                <a:gd name="T79" fmla="*/ 392 h 456"/>
                <a:gd name="T80" fmla="*/ 278 w 474"/>
                <a:gd name="T81" fmla="*/ 382 h 456"/>
                <a:gd name="T82" fmla="*/ 304 w 474"/>
                <a:gd name="T83" fmla="*/ 382 h 456"/>
                <a:gd name="T84" fmla="*/ 352 w 474"/>
                <a:gd name="T85" fmla="*/ 372 h 456"/>
                <a:gd name="T86" fmla="*/ 372 w 474"/>
                <a:gd name="T87" fmla="*/ 346 h 456"/>
                <a:gd name="T88" fmla="*/ 366 w 474"/>
                <a:gd name="T89" fmla="*/ 32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4" h="456">
                  <a:moveTo>
                    <a:pt x="372" y="304"/>
                  </a:moveTo>
                  <a:lnTo>
                    <a:pt x="386" y="286"/>
                  </a:lnTo>
                  <a:lnTo>
                    <a:pt x="372" y="268"/>
                  </a:lnTo>
                  <a:lnTo>
                    <a:pt x="366" y="252"/>
                  </a:lnTo>
                  <a:lnTo>
                    <a:pt x="372" y="234"/>
                  </a:lnTo>
                  <a:lnTo>
                    <a:pt x="386" y="216"/>
                  </a:lnTo>
                  <a:lnTo>
                    <a:pt x="400" y="216"/>
                  </a:lnTo>
                  <a:lnTo>
                    <a:pt x="412" y="198"/>
                  </a:lnTo>
                  <a:lnTo>
                    <a:pt x="412" y="182"/>
                  </a:lnTo>
                  <a:lnTo>
                    <a:pt x="412" y="166"/>
                  </a:lnTo>
                  <a:lnTo>
                    <a:pt x="426" y="166"/>
                  </a:lnTo>
                  <a:lnTo>
                    <a:pt x="426" y="148"/>
                  </a:lnTo>
                  <a:lnTo>
                    <a:pt x="440" y="148"/>
                  </a:lnTo>
                  <a:lnTo>
                    <a:pt x="454" y="156"/>
                  </a:lnTo>
                  <a:lnTo>
                    <a:pt x="454" y="156"/>
                  </a:lnTo>
                  <a:lnTo>
                    <a:pt x="454" y="156"/>
                  </a:lnTo>
                  <a:lnTo>
                    <a:pt x="468" y="150"/>
                  </a:lnTo>
                  <a:lnTo>
                    <a:pt x="474" y="132"/>
                  </a:lnTo>
                  <a:lnTo>
                    <a:pt x="474" y="114"/>
                  </a:lnTo>
                  <a:lnTo>
                    <a:pt x="462" y="104"/>
                  </a:lnTo>
                  <a:lnTo>
                    <a:pt x="446" y="96"/>
                  </a:lnTo>
                  <a:lnTo>
                    <a:pt x="446" y="80"/>
                  </a:lnTo>
                  <a:lnTo>
                    <a:pt x="446" y="66"/>
                  </a:lnTo>
                  <a:lnTo>
                    <a:pt x="446" y="66"/>
                  </a:lnTo>
                  <a:lnTo>
                    <a:pt x="406" y="42"/>
                  </a:lnTo>
                  <a:lnTo>
                    <a:pt x="364" y="46"/>
                  </a:lnTo>
                  <a:lnTo>
                    <a:pt x="320" y="28"/>
                  </a:lnTo>
                  <a:lnTo>
                    <a:pt x="288" y="54"/>
                  </a:lnTo>
                  <a:lnTo>
                    <a:pt x="284" y="0"/>
                  </a:lnTo>
                  <a:lnTo>
                    <a:pt x="254" y="28"/>
                  </a:lnTo>
                  <a:lnTo>
                    <a:pt x="206" y="12"/>
                  </a:lnTo>
                  <a:lnTo>
                    <a:pt x="170" y="12"/>
                  </a:lnTo>
                  <a:lnTo>
                    <a:pt x="168" y="12"/>
                  </a:lnTo>
                  <a:lnTo>
                    <a:pt x="168" y="26"/>
                  </a:lnTo>
                  <a:lnTo>
                    <a:pt x="162" y="44"/>
                  </a:lnTo>
                  <a:lnTo>
                    <a:pt x="162" y="62"/>
                  </a:lnTo>
                  <a:lnTo>
                    <a:pt x="162" y="80"/>
                  </a:lnTo>
                  <a:lnTo>
                    <a:pt x="148" y="96"/>
                  </a:lnTo>
                  <a:lnTo>
                    <a:pt x="142" y="114"/>
                  </a:lnTo>
                  <a:lnTo>
                    <a:pt x="142" y="132"/>
                  </a:lnTo>
                  <a:lnTo>
                    <a:pt x="136" y="148"/>
                  </a:lnTo>
                  <a:lnTo>
                    <a:pt x="120" y="148"/>
                  </a:lnTo>
                  <a:lnTo>
                    <a:pt x="108" y="156"/>
                  </a:lnTo>
                  <a:lnTo>
                    <a:pt x="96" y="174"/>
                  </a:lnTo>
                  <a:lnTo>
                    <a:pt x="96" y="190"/>
                  </a:lnTo>
                  <a:lnTo>
                    <a:pt x="82" y="200"/>
                  </a:lnTo>
                  <a:lnTo>
                    <a:pt x="68" y="208"/>
                  </a:lnTo>
                  <a:lnTo>
                    <a:pt x="54" y="208"/>
                  </a:lnTo>
                  <a:lnTo>
                    <a:pt x="48" y="226"/>
                  </a:lnTo>
                  <a:lnTo>
                    <a:pt x="40" y="244"/>
                  </a:lnTo>
                  <a:lnTo>
                    <a:pt x="26" y="260"/>
                  </a:lnTo>
                  <a:lnTo>
                    <a:pt x="20" y="278"/>
                  </a:lnTo>
                  <a:lnTo>
                    <a:pt x="6" y="296"/>
                  </a:lnTo>
                  <a:lnTo>
                    <a:pt x="0" y="312"/>
                  </a:lnTo>
                  <a:lnTo>
                    <a:pt x="6" y="330"/>
                  </a:lnTo>
                  <a:lnTo>
                    <a:pt x="0" y="346"/>
                  </a:lnTo>
                  <a:lnTo>
                    <a:pt x="0" y="346"/>
                  </a:lnTo>
                  <a:lnTo>
                    <a:pt x="0" y="356"/>
                  </a:lnTo>
                  <a:lnTo>
                    <a:pt x="14" y="372"/>
                  </a:lnTo>
                  <a:lnTo>
                    <a:pt x="28" y="382"/>
                  </a:lnTo>
                  <a:lnTo>
                    <a:pt x="40" y="390"/>
                  </a:lnTo>
                  <a:lnTo>
                    <a:pt x="56" y="390"/>
                  </a:lnTo>
                  <a:lnTo>
                    <a:pt x="68" y="400"/>
                  </a:lnTo>
                  <a:lnTo>
                    <a:pt x="84" y="416"/>
                  </a:lnTo>
                  <a:lnTo>
                    <a:pt x="98" y="416"/>
                  </a:lnTo>
                  <a:lnTo>
                    <a:pt x="110" y="416"/>
                  </a:lnTo>
                  <a:lnTo>
                    <a:pt x="122" y="416"/>
                  </a:lnTo>
                  <a:lnTo>
                    <a:pt x="136" y="426"/>
                  </a:lnTo>
                  <a:lnTo>
                    <a:pt x="146" y="442"/>
                  </a:lnTo>
                  <a:lnTo>
                    <a:pt x="138" y="456"/>
                  </a:lnTo>
                  <a:lnTo>
                    <a:pt x="142" y="450"/>
                  </a:lnTo>
                  <a:lnTo>
                    <a:pt x="154" y="440"/>
                  </a:lnTo>
                  <a:lnTo>
                    <a:pt x="154" y="424"/>
                  </a:lnTo>
                  <a:lnTo>
                    <a:pt x="168" y="408"/>
                  </a:lnTo>
                  <a:lnTo>
                    <a:pt x="182" y="398"/>
                  </a:lnTo>
                  <a:lnTo>
                    <a:pt x="196" y="392"/>
                  </a:lnTo>
                  <a:lnTo>
                    <a:pt x="210" y="382"/>
                  </a:lnTo>
                  <a:lnTo>
                    <a:pt x="224" y="382"/>
                  </a:lnTo>
                  <a:lnTo>
                    <a:pt x="236" y="382"/>
                  </a:lnTo>
                  <a:lnTo>
                    <a:pt x="250" y="392"/>
                  </a:lnTo>
                  <a:lnTo>
                    <a:pt x="264" y="382"/>
                  </a:lnTo>
                  <a:lnTo>
                    <a:pt x="278" y="382"/>
                  </a:lnTo>
                  <a:lnTo>
                    <a:pt x="290" y="372"/>
                  </a:lnTo>
                  <a:lnTo>
                    <a:pt x="304" y="382"/>
                  </a:lnTo>
                  <a:lnTo>
                    <a:pt x="330" y="372"/>
                  </a:lnTo>
                  <a:lnTo>
                    <a:pt x="352" y="372"/>
                  </a:lnTo>
                  <a:lnTo>
                    <a:pt x="366" y="364"/>
                  </a:lnTo>
                  <a:lnTo>
                    <a:pt x="372" y="346"/>
                  </a:lnTo>
                  <a:lnTo>
                    <a:pt x="380" y="330"/>
                  </a:lnTo>
                  <a:lnTo>
                    <a:pt x="366" y="320"/>
                  </a:lnTo>
                  <a:lnTo>
                    <a:pt x="372" y="304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50"/>
            <p:cNvSpPr>
              <a:spLocks/>
            </p:cNvSpPr>
            <p:nvPr/>
          </p:nvSpPr>
          <p:spPr bwMode="auto">
            <a:xfrm>
              <a:off x="2369869" y="1795434"/>
              <a:ext cx="484322" cy="529166"/>
            </a:xfrm>
            <a:custGeom>
              <a:avLst/>
              <a:gdLst>
                <a:gd name="T0" fmla="*/ 8 w 324"/>
                <a:gd name="T1" fmla="*/ 126 h 354"/>
                <a:gd name="T2" fmla="*/ 34 w 324"/>
                <a:gd name="T3" fmla="*/ 134 h 354"/>
                <a:gd name="T4" fmla="*/ 62 w 324"/>
                <a:gd name="T5" fmla="*/ 134 h 354"/>
                <a:gd name="T6" fmla="*/ 88 w 324"/>
                <a:gd name="T7" fmla="*/ 126 h 354"/>
                <a:gd name="T8" fmla="*/ 116 w 324"/>
                <a:gd name="T9" fmla="*/ 134 h 354"/>
                <a:gd name="T10" fmla="*/ 142 w 324"/>
                <a:gd name="T11" fmla="*/ 126 h 354"/>
                <a:gd name="T12" fmla="*/ 160 w 324"/>
                <a:gd name="T13" fmla="*/ 110 h 354"/>
                <a:gd name="T14" fmla="*/ 176 w 324"/>
                <a:gd name="T15" fmla="*/ 74 h 354"/>
                <a:gd name="T16" fmla="*/ 184 w 324"/>
                <a:gd name="T17" fmla="*/ 42 h 354"/>
                <a:gd name="T18" fmla="*/ 210 w 324"/>
                <a:gd name="T19" fmla="*/ 24 h 354"/>
                <a:gd name="T20" fmla="*/ 220 w 324"/>
                <a:gd name="T21" fmla="*/ 0 h 354"/>
                <a:gd name="T22" fmla="*/ 244 w 324"/>
                <a:gd name="T23" fmla="*/ 24 h 354"/>
                <a:gd name="T24" fmla="*/ 256 w 324"/>
                <a:gd name="T25" fmla="*/ 58 h 354"/>
                <a:gd name="T26" fmla="*/ 256 w 324"/>
                <a:gd name="T27" fmla="*/ 92 h 354"/>
                <a:gd name="T28" fmla="*/ 270 w 324"/>
                <a:gd name="T29" fmla="*/ 126 h 354"/>
                <a:gd name="T30" fmla="*/ 290 w 324"/>
                <a:gd name="T31" fmla="*/ 160 h 354"/>
                <a:gd name="T32" fmla="*/ 316 w 324"/>
                <a:gd name="T33" fmla="*/ 170 h 354"/>
                <a:gd name="T34" fmla="*/ 316 w 324"/>
                <a:gd name="T35" fmla="*/ 206 h 354"/>
                <a:gd name="T36" fmla="*/ 304 w 324"/>
                <a:gd name="T37" fmla="*/ 230 h 354"/>
                <a:gd name="T38" fmla="*/ 276 w 324"/>
                <a:gd name="T39" fmla="*/ 254 h 354"/>
                <a:gd name="T40" fmla="*/ 250 w 324"/>
                <a:gd name="T41" fmla="*/ 282 h 354"/>
                <a:gd name="T42" fmla="*/ 228 w 324"/>
                <a:gd name="T43" fmla="*/ 308 h 354"/>
                <a:gd name="T44" fmla="*/ 216 w 324"/>
                <a:gd name="T45" fmla="*/ 334 h 354"/>
                <a:gd name="T46" fmla="*/ 188 w 324"/>
                <a:gd name="T47" fmla="*/ 354 h 354"/>
                <a:gd name="T48" fmla="*/ 160 w 324"/>
                <a:gd name="T49" fmla="*/ 334 h 354"/>
                <a:gd name="T50" fmla="*/ 148 w 324"/>
                <a:gd name="T51" fmla="*/ 298 h 354"/>
                <a:gd name="T52" fmla="*/ 120 w 324"/>
                <a:gd name="T53" fmla="*/ 274 h 354"/>
                <a:gd name="T54" fmla="*/ 120 w 324"/>
                <a:gd name="T55" fmla="*/ 238 h 354"/>
                <a:gd name="T56" fmla="*/ 94 w 324"/>
                <a:gd name="T57" fmla="*/ 214 h 354"/>
                <a:gd name="T58" fmla="*/ 76 w 324"/>
                <a:gd name="T59" fmla="*/ 196 h 354"/>
                <a:gd name="T60" fmla="*/ 54 w 324"/>
                <a:gd name="T61" fmla="*/ 176 h 354"/>
                <a:gd name="T62" fmla="*/ 28 w 324"/>
                <a:gd name="T63" fmla="*/ 160 h 354"/>
                <a:gd name="T64" fmla="*/ 14 w 324"/>
                <a:gd name="T65" fmla="*/ 144 h 354"/>
                <a:gd name="T66" fmla="*/ 0 w 324"/>
                <a:gd name="T67" fmla="*/ 126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4" h="354">
                  <a:moveTo>
                    <a:pt x="0" y="126"/>
                  </a:moveTo>
                  <a:lnTo>
                    <a:pt x="8" y="126"/>
                  </a:lnTo>
                  <a:lnTo>
                    <a:pt x="20" y="126"/>
                  </a:lnTo>
                  <a:lnTo>
                    <a:pt x="34" y="134"/>
                  </a:lnTo>
                  <a:lnTo>
                    <a:pt x="48" y="134"/>
                  </a:lnTo>
                  <a:lnTo>
                    <a:pt x="62" y="134"/>
                  </a:lnTo>
                  <a:lnTo>
                    <a:pt x="76" y="126"/>
                  </a:lnTo>
                  <a:lnTo>
                    <a:pt x="88" y="126"/>
                  </a:lnTo>
                  <a:lnTo>
                    <a:pt x="102" y="126"/>
                  </a:lnTo>
                  <a:lnTo>
                    <a:pt x="116" y="134"/>
                  </a:lnTo>
                  <a:lnTo>
                    <a:pt x="130" y="134"/>
                  </a:lnTo>
                  <a:lnTo>
                    <a:pt x="142" y="126"/>
                  </a:lnTo>
                  <a:lnTo>
                    <a:pt x="156" y="126"/>
                  </a:lnTo>
                  <a:lnTo>
                    <a:pt x="160" y="110"/>
                  </a:lnTo>
                  <a:lnTo>
                    <a:pt x="170" y="92"/>
                  </a:lnTo>
                  <a:lnTo>
                    <a:pt x="176" y="74"/>
                  </a:lnTo>
                  <a:lnTo>
                    <a:pt x="184" y="58"/>
                  </a:lnTo>
                  <a:lnTo>
                    <a:pt x="184" y="42"/>
                  </a:lnTo>
                  <a:lnTo>
                    <a:pt x="196" y="24"/>
                  </a:lnTo>
                  <a:lnTo>
                    <a:pt x="210" y="24"/>
                  </a:lnTo>
                  <a:lnTo>
                    <a:pt x="210" y="6"/>
                  </a:lnTo>
                  <a:lnTo>
                    <a:pt x="220" y="0"/>
                  </a:lnTo>
                  <a:lnTo>
                    <a:pt x="238" y="6"/>
                  </a:lnTo>
                  <a:lnTo>
                    <a:pt x="244" y="24"/>
                  </a:lnTo>
                  <a:lnTo>
                    <a:pt x="250" y="42"/>
                  </a:lnTo>
                  <a:lnTo>
                    <a:pt x="256" y="58"/>
                  </a:lnTo>
                  <a:lnTo>
                    <a:pt x="256" y="74"/>
                  </a:lnTo>
                  <a:lnTo>
                    <a:pt x="256" y="92"/>
                  </a:lnTo>
                  <a:lnTo>
                    <a:pt x="262" y="110"/>
                  </a:lnTo>
                  <a:lnTo>
                    <a:pt x="270" y="126"/>
                  </a:lnTo>
                  <a:lnTo>
                    <a:pt x="276" y="144"/>
                  </a:lnTo>
                  <a:lnTo>
                    <a:pt x="290" y="160"/>
                  </a:lnTo>
                  <a:lnTo>
                    <a:pt x="304" y="160"/>
                  </a:lnTo>
                  <a:lnTo>
                    <a:pt x="316" y="170"/>
                  </a:lnTo>
                  <a:lnTo>
                    <a:pt x="324" y="188"/>
                  </a:lnTo>
                  <a:lnTo>
                    <a:pt x="316" y="206"/>
                  </a:lnTo>
                  <a:lnTo>
                    <a:pt x="316" y="222"/>
                  </a:lnTo>
                  <a:lnTo>
                    <a:pt x="304" y="230"/>
                  </a:lnTo>
                  <a:lnTo>
                    <a:pt x="290" y="238"/>
                  </a:lnTo>
                  <a:lnTo>
                    <a:pt x="276" y="254"/>
                  </a:lnTo>
                  <a:lnTo>
                    <a:pt x="262" y="274"/>
                  </a:lnTo>
                  <a:lnTo>
                    <a:pt x="250" y="282"/>
                  </a:lnTo>
                  <a:lnTo>
                    <a:pt x="244" y="298"/>
                  </a:lnTo>
                  <a:lnTo>
                    <a:pt x="228" y="308"/>
                  </a:lnTo>
                  <a:lnTo>
                    <a:pt x="216" y="316"/>
                  </a:lnTo>
                  <a:lnTo>
                    <a:pt x="216" y="334"/>
                  </a:lnTo>
                  <a:lnTo>
                    <a:pt x="202" y="342"/>
                  </a:lnTo>
                  <a:lnTo>
                    <a:pt x="188" y="354"/>
                  </a:lnTo>
                  <a:lnTo>
                    <a:pt x="176" y="354"/>
                  </a:lnTo>
                  <a:lnTo>
                    <a:pt x="160" y="334"/>
                  </a:lnTo>
                  <a:lnTo>
                    <a:pt x="156" y="316"/>
                  </a:lnTo>
                  <a:lnTo>
                    <a:pt x="148" y="298"/>
                  </a:lnTo>
                  <a:lnTo>
                    <a:pt x="136" y="290"/>
                  </a:lnTo>
                  <a:lnTo>
                    <a:pt x="120" y="274"/>
                  </a:lnTo>
                  <a:lnTo>
                    <a:pt x="120" y="254"/>
                  </a:lnTo>
                  <a:lnTo>
                    <a:pt x="120" y="238"/>
                  </a:lnTo>
                  <a:lnTo>
                    <a:pt x="108" y="230"/>
                  </a:lnTo>
                  <a:lnTo>
                    <a:pt x="94" y="214"/>
                  </a:lnTo>
                  <a:lnTo>
                    <a:pt x="88" y="196"/>
                  </a:lnTo>
                  <a:lnTo>
                    <a:pt x="76" y="196"/>
                  </a:lnTo>
                  <a:lnTo>
                    <a:pt x="68" y="176"/>
                  </a:lnTo>
                  <a:lnTo>
                    <a:pt x="54" y="176"/>
                  </a:lnTo>
                  <a:lnTo>
                    <a:pt x="40" y="170"/>
                  </a:lnTo>
                  <a:lnTo>
                    <a:pt x="28" y="160"/>
                  </a:lnTo>
                  <a:lnTo>
                    <a:pt x="14" y="160"/>
                  </a:lnTo>
                  <a:lnTo>
                    <a:pt x="14" y="144"/>
                  </a:lnTo>
                  <a:lnTo>
                    <a:pt x="6" y="126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54"/>
            <p:cNvSpPr>
              <a:spLocks/>
            </p:cNvSpPr>
            <p:nvPr/>
          </p:nvSpPr>
          <p:spPr bwMode="auto">
            <a:xfrm>
              <a:off x="2994704" y="2342538"/>
              <a:ext cx="648752" cy="920809"/>
            </a:xfrm>
            <a:custGeom>
              <a:avLst/>
              <a:gdLst>
                <a:gd name="T0" fmla="*/ 150 w 434"/>
                <a:gd name="T1" fmla="*/ 28 h 616"/>
                <a:gd name="T2" fmla="*/ 142 w 434"/>
                <a:gd name="T3" fmla="*/ 72 h 616"/>
                <a:gd name="T4" fmla="*/ 122 w 434"/>
                <a:gd name="T5" fmla="*/ 96 h 616"/>
                <a:gd name="T6" fmla="*/ 116 w 434"/>
                <a:gd name="T7" fmla="*/ 132 h 616"/>
                <a:gd name="T8" fmla="*/ 104 w 434"/>
                <a:gd name="T9" fmla="*/ 166 h 616"/>
                <a:gd name="T10" fmla="*/ 76 w 434"/>
                <a:gd name="T11" fmla="*/ 192 h 616"/>
                <a:gd name="T12" fmla="*/ 62 w 434"/>
                <a:gd name="T13" fmla="*/ 226 h 616"/>
                <a:gd name="T14" fmla="*/ 34 w 434"/>
                <a:gd name="T15" fmla="*/ 234 h 616"/>
                <a:gd name="T16" fmla="*/ 6 w 434"/>
                <a:gd name="T17" fmla="*/ 252 h 616"/>
                <a:gd name="T18" fmla="*/ 6 w 434"/>
                <a:gd name="T19" fmla="*/ 262 h 616"/>
                <a:gd name="T20" fmla="*/ 28 w 434"/>
                <a:gd name="T21" fmla="*/ 262 h 616"/>
                <a:gd name="T22" fmla="*/ 48 w 434"/>
                <a:gd name="T23" fmla="*/ 278 h 616"/>
                <a:gd name="T24" fmla="*/ 68 w 434"/>
                <a:gd name="T25" fmla="*/ 304 h 616"/>
                <a:gd name="T26" fmla="*/ 68 w 434"/>
                <a:gd name="T27" fmla="*/ 340 h 616"/>
                <a:gd name="T28" fmla="*/ 62 w 434"/>
                <a:gd name="T29" fmla="*/ 372 h 616"/>
                <a:gd name="T30" fmla="*/ 48 w 434"/>
                <a:gd name="T31" fmla="*/ 408 h 616"/>
                <a:gd name="T32" fmla="*/ 76 w 434"/>
                <a:gd name="T33" fmla="*/ 426 h 616"/>
                <a:gd name="T34" fmla="*/ 96 w 434"/>
                <a:gd name="T35" fmla="*/ 450 h 616"/>
                <a:gd name="T36" fmla="*/ 122 w 434"/>
                <a:gd name="T37" fmla="*/ 450 h 616"/>
                <a:gd name="T38" fmla="*/ 116 w 434"/>
                <a:gd name="T39" fmla="*/ 486 h 616"/>
                <a:gd name="T40" fmla="*/ 104 w 434"/>
                <a:gd name="T41" fmla="*/ 510 h 616"/>
                <a:gd name="T42" fmla="*/ 104 w 434"/>
                <a:gd name="T43" fmla="*/ 546 h 616"/>
                <a:gd name="T44" fmla="*/ 122 w 434"/>
                <a:gd name="T45" fmla="*/ 572 h 616"/>
                <a:gd name="T46" fmla="*/ 136 w 434"/>
                <a:gd name="T47" fmla="*/ 600 h 616"/>
                <a:gd name="T48" fmla="*/ 156 w 434"/>
                <a:gd name="T49" fmla="*/ 616 h 616"/>
                <a:gd name="T50" fmla="*/ 176 w 434"/>
                <a:gd name="T51" fmla="*/ 580 h 616"/>
                <a:gd name="T52" fmla="*/ 170 w 434"/>
                <a:gd name="T53" fmla="*/ 546 h 616"/>
                <a:gd name="T54" fmla="*/ 176 w 434"/>
                <a:gd name="T55" fmla="*/ 510 h 616"/>
                <a:gd name="T56" fmla="*/ 190 w 434"/>
                <a:gd name="T57" fmla="*/ 478 h 616"/>
                <a:gd name="T58" fmla="*/ 202 w 434"/>
                <a:gd name="T59" fmla="*/ 434 h 616"/>
                <a:gd name="T60" fmla="*/ 232 w 434"/>
                <a:gd name="T61" fmla="*/ 426 h 616"/>
                <a:gd name="T62" fmla="*/ 258 w 434"/>
                <a:gd name="T63" fmla="*/ 416 h 616"/>
                <a:gd name="T64" fmla="*/ 284 w 434"/>
                <a:gd name="T65" fmla="*/ 390 h 616"/>
                <a:gd name="T66" fmla="*/ 312 w 434"/>
                <a:gd name="T67" fmla="*/ 382 h 616"/>
                <a:gd name="T68" fmla="*/ 346 w 434"/>
                <a:gd name="T69" fmla="*/ 382 h 616"/>
                <a:gd name="T70" fmla="*/ 374 w 434"/>
                <a:gd name="T71" fmla="*/ 372 h 616"/>
                <a:gd name="T72" fmla="*/ 364 w 434"/>
                <a:gd name="T73" fmla="*/ 340 h 616"/>
                <a:gd name="T74" fmla="*/ 358 w 434"/>
                <a:gd name="T75" fmla="*/ 312 h 616"/>
                <a:gd name="T76" fmla="*/ 374 w 434"/>
                <a:gd name="T77" fmla="*/ 278 h 616"/>
                <a:gd name="T78" fmla="*/ 374 w 434"/>
                <a:gd name="T79" fmla="*/ 244 h 616"/>
                <a:gd name="T80" fmla="*/ 358 w 434"/>
                <a:gd name="T81" fmla="*/ 220 h 616"/>
                <a:gd name="T82" fmla="*/ 380 w 434"/>
                <a:gd name="T83" fmla="*/ 184 h 616"/>
                <a:gd name="T84" fmla="*/ 406 w 434"/>
                <a:gd name="T85" fmla="*/ 158 h 616"/>
                <a:gd name="T86" fmla="*/ 434 w 434"/>
                <a:gd name="T87" fmla="*/ 148 h 616"/>
                <a:gd name="T88" fmla="*/ 434 w 434"/>
                <a:gd name="T89" fmla="*/ 124 h 616"/>
                <a:gd name="T90" fmla="*/ 412 w 434"/>
                <a:gd name="T91" fmla="*/ 124 h 616"/>
                <a:gd name="T92" fmla="*/ 388 w 434"/>
                <a:gd name="T93" fmla="*/ 106 h 616"/>
                <a:gd name="T94" fmla="*/ 358 w 434"/>
                <a:gd name="T95" fmla="*/ 96 h 616"/>
                <a:gd name="T96" fmla="*/ 330 w 434"/>
                <a:gd name="T97" fmla="*/ 96 h 616"/>
                <a:gd name="T98" fmla="*/ 306 w 434"/>
                <a:gd name="T99" fmla="*/ 96 h 616"/>
                <a:gd name="T100" fmla="*/ 278 w 434"/>
                <a:gd name="T101" fmla="*/ 114 h 616"/>
                <a:gd name="T102" fmla="*/ 252 w 434"/>
                <a:gd name="T103" fmla="*/ 114 h 616"/>
                <a:gd name="T104" fmla="*/ 252 w 434"/>
                <a:gd name="T105" fmla="*/ 80 h 616"/>
                <a:gd name="T106" fmla="*/ 252 w 434"/>
                <a:gd name="T107" fmla="*/ 46 h 616"/>
                <a:gd name="T108" fmla="*/ 224 w 434"/>
                <a:gd name="T109" fmla="*/ 28 h 616"/>
                <a:gd name="T110" fmla="*/ 196 w 434"/>
                <a:gd name="T111" fmla="*/ 28 h 616"/>
                <a:gd name="T112" fmla="*/ 170 w 434"/>
                <a:gd name="T113" fmla="*/ 2 h 616"/>
                <a:gd name="T114" fmla="*/ 156 w 434"/>
                <a:gd name="T115" fmla="*/ 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4" h="616">
                  <a:moveTo>
                    <a:pt x="156" y="0"/>
                  </a:moveTo>
                  <a:lnTo>
                    <a:pt x="150" y="28"/>
                  </a:lnTo>
                  <a:lnTo>
                    <a:pt x="150" y="54"/>
                  </a:lnTo>
                  <a:lnTo>
                    <a:pt x="142" y="72"/>
                  </a:lnTo>
                  <a:lnTo>
                    <a:pt x="136" y="88"/>
                  </a:lnTo>
                  <a:lnTo>
                    <a:pt x="122" y="96"/>
                  </a:lnTo>
                  <a:lnTo>
                    <a:pt x="116" y="114"/>
                  </a:lnTo>
                  <a:lnTo>
                    <a:pt x="116" y="132"/>
                  </a:lnTo>
                  <a:lnTo>
                    <a:pt x="110" y="148"/>
                  </a:lnTo>
                  <a:lnTo>
                    <a:pt x="104" y="166"/>
                  </a:lnTo>
                  <a:lnTo>
                    <a:pt x="90" y="184"/>
                  </a:lnTo>
                  <a:lnTo>
                    <a:pt x="76" y="192"/>
                  </a:lnTo>
                  <a:lnTo>
                    <a:pt x="68" y="208"/>
                  </a:lnTo>
                  <a:lnTo>
                    <a:pt x="62" y="226"/>
                  </a:lnTo>
                  <a:lnTo>
                    <a:pt x="48" y="226"/>
                  </a:lnTo>
                  <a:lnTo>
                    <a:pt x="34" y="234"/>
                  </a:lnTo>
                  <a:lnTo>
                    <a:pt x="22" y="234"/>
                  </a:lnTo>
                  <a:lnTo>
                    <a:pt x="6" y="252"/>
                  </a:lnTo>
                  <a:lnTo>
                    <a:pt x="0" y="262"/>
                  </a:lnTo>
                  <a:lnTo>
                    <a:pt x="6" y="262"/>
                  </a:lnTo>
                  <a:lnTo>
                    <a:pt x="14" y="262"/>
                  </a:lnTo>
                  <a:lnTo>
                    <a:pt x="28" y="262"/>
                  </a:lnTo>
                  <a:lnTo>
                    <a:pt x="34" y="278"/>
                  </a:lnTo>
                  <a:lnTo>
                    <a:pt x="48" y="278"/>
                  </a:lnTo>
                  <a:lnTo>
                    <a:pt x="62" y="286"/>
                  </a:lnTo>
                  <a:lnTo>
                    <a:pt x="68" y="304"/>
                  </a:lnTo>
                  <a:lnTo>
                    <a:pt x="68" y="322"/>
                  </a:lnTo>
                  <a:lnTo>
                    <a:pt x="68" y="340"/>
                  </a:lnTo>
                  <a:lnTo>
                    <a:pt x="68" y="356"/>
                  </a:lnTo>
                  <a:lnTo>
                    <a:pt x="62" y="372"/>
                  </a:lnTo>
                  <a:lnTo>
                    <a:pt x="54" y="390"/>
                  </a:lnTo>
                  <a:lnTo>
                    <a:pt x="48" y="408"/>
                  </a:lnTo>
                  <a:lnTo>
                    <a:pt x="62" y="416"/>
                  </a:lnTo>
                  <a:lnTo>
                    <a:pt x="76" y="426"/>
                  </a:lnTo>
                  <a:lnTo>
                    <a:pt x="82" y="442"/>
                  </a:lnTo>
                  <a:lnTo>
                    <a:pt x="96" y="450"/>
                  </a:lnTo>
                  <a:lnTo>
                    <a:pt x="110" y="450"/>
                  </a:lnTo>
                  <a:lnTo>
                    <a:pt x="122" y="450"/>
                  </a:lnTo>
                  <a:lnTo>
                    <a:pt x="128" y="468"/>
                  </a:lnTo>
                  <a:lnTo>
                    <a:pt x="116" y="486"/>
                  </a:lnTo>
                  <a:lnTo>
                    <a:pt x="104" y="494"/>
                  </a:lnTo>
                  <a:lnTo>
                    <a:pt x="104" y="510"/>
                  </a:lnTo>
                  <a:lnTo>
                    <a:pt x="96" y="530"/>
                  </a:lnTo>
                  <a:lnTo>
                    <a:pt x="104" y="546"/>
                  </a:lnTo>
                  <a:lnTo>
                    <a:pt x="116" y="554"/>
                  </a:lnTo>
                  <a:lnTo>
                    <a:pt x="122" y="572"/>
                  </a:lnTo>
                  <a:lnTo>
                    <a:pt x="122" y="590"/>
                  </a:lnTo>
                  <a:lnTo>
                    <a:pt x="136" y="600"/>
                  </a:lnTo>
                  <a:lnTo>
                    <a:pt x="142" y="616"/>
                  </a:lnTo>
                  <a:lnTo>
                    <a:pt x="156" y="616"/>
                  </a:lnTo>
                  <a:lnTo>
                    <a:pt x="170" y="600"/>
                  </a:lnTo>
                  <a:lnTo>
                    <a:pt x="176" y="580"/>
                  </a:lnTo>
                  <a:lnTo>
                    <a:pt x="170" y="564"/>
                  </a:lnTo>
                  <a:lnTo>
                    <a:pt x="170" y="546"/>
                  </a:lnTo>
                  <a:lnTo>
                    <a:pt x="162" y="530"/>
                  </a:lnTo>
                  <a:lnTo>
                    <a:pt x="176" y="510"/>
                  </a:lnTo>
                  <a:lnTo>
                    <a:pt x="184" y="494"/>
                  </a:lnTo>
                  <a:lnTo>
                    <a:pt x="190" y="478"/>
                  </a:lnTo>
                  <a:lnTo>
                    <a:pt x="190" y="450"/>
                  </a:lnTo>
                  <a:lnTo>
                    <a:pt x="202" y="434"/>
                  </a:lnTo>
                  <a:lnTo>
                    <a:pt x="218" y="426"/>
                  </a:lnTo>
                  <a:lnTo>
                    <a:pt x="232" y="426"/>
                  </a:lnTo>
                  <a:lnTo>
                    <a:pt x="244" y="416"/>
                  </a:lnTo>
                  <a:lnTo>
                    <a:pt x="258" y="416"/>
                  </a:lnTo>
                  <a:lnTo>
                    <a:pt x="270" y="400"/>
                  </a:lnTo>
                  <a:lnTo>
                    <a:pt x="284" y="390"/>
                  </a:lnTo>
                  <a:lnTo>
                    <a:pt x="298" y="382"/>
                  </a:lnTo>
                  <a:lnTo>
                    <a:pt x="312" y="382"/>
                  </a:lnTo>
                  <a:lnTo>
                    <a:pt x="330" y="390"/>
                  </a:lnTo>
                  <a:lnTo>
                    <a:pt x="346" y="382"/>
                  </a:lnTo>
                  <a:lnTo>
                    <a:pt x="358" y="382"/>
                  </a:lnTo>
                  <a:lnTo>
                    <a:pt x="374" y="372"/>
                  </a:lnTo>
                  <a:lnTo>
                    <a:pt x="374" y="356"/>
                  </a:lnTo>
                  <a:lnTo>
                    <a:pt x="364" y="340"/>
                  </a:lnTo>
                  <a:lnTo>
                    <a:pt x="352" y="330"/>
                  </a:lnTo>
                  <a:lnTo>
                    <a:pt x="358" y="312"/>
                  </a:lnTo>
                  <a:lnTo>
                    <a:pt x="374" y="296"/>
                  </a:lnTo>
                  <a:lnTo>
                    <a:pt x="374" y="278"/>
                  </a:lnTo>
                  <a:lnTo>
                    <a:pt x="374" y="262"/>
                  </a:lnTo>
                  <a:lnTo>
                    <a:pt x="374" y="244"/>
                  </a:lnTo>
                  <a:lnTo>
                    <a:pt x="374" y="226"/>
                  </a:lnTo>
                  <a:lnTo>
                    <a:pt x="358" y="220"/>
                  </a:lnTo>
                  <a:lnTo>
                    <a:pt x="374" y="202"/>
                  </a:lnTo>
                  <a:lnTo>
                    <a:pt x="380" y="184"/>
                  </a:lnTo>
                  <a:lnTo>
                    <a:pt x="392" y="166"/>
                  </a:lnTo>
                  <a:lnTo>
                    <a:pt x="406" y="158"/>
                  </a:lnTo>
                  <a:lnTo>
                    <a:pt x="418" y="158"/>
                  </a:lnTo>
                  <a:lnTo>
                    <a:pt x="434" y="148"/>
                  </a:lnTo>
                  <a:lnTo>
                    <a:pt x="434" y="132"/>
                  </a:lnTo>
                  <a:lnTo>
                    <a:pt x="434" y="124"/>
                  </a:lnTo>
                  <a:lnTo>
                    <a:pt x="426" y="124"/>
                  </a:lnTo>
                  <a:lnTo>
                    <a:pt x="412" y="124"/>
                  </a:lnTo>
                  <a:lnTo>
                    <a:pt x="400" y="114"/>
                  </a:lnTo>
                  <a:lnTo>
                    <a:pt x="388" y="106"/>
                  </a:lnTo>
                  <a:lnTo>
                    <a:pt x="374" y="106"/>
                  </a:lnTo>
                  <a:lnTo>
                    <a:pt x="358" y="96"/>
                  </a:lnTo>
                  <a:lnTo>
                    <a:pt x="346" y="96"/>
                  </a:lnTo>
                  <a:lnTo>
                    <a:pt x="330" y="96"/>
                  </a:lnTo>
                  <a:lnTo>
                    <a:pt x="318" y="96"/>
                  </a:lnTo>
                  <a:lnTo>
                    <a:pt x="306" y="96"/>
                  </a:lnTo>
                  <a:lnTo>
                    <a:pt x="292" y="114"/>
                  </a:lnTo>
                  <a:lnTo>
                    <a:pt x="278" y="114"/>
                  </a:lnTo>
                  <a:lnTo>
                    <a:pt x="264" y="124"/>
                  </a:lnTo>
                  <a:lnTo>
                    <a:pt x="252" y="114"/>
                  </a:lnTo>
                  <a:lnTo>
                    <a:pt x="252" y="96"/>
                  </a:lnTo>
                  <a:lnTo>
                    <a:pt x="252" y="80"/>
                  </a:lnTo>
                  <a:lnTo>
                    <a:pt x="258" y="62"/>
                  </a:lnTo>
                  <a:lnTo>
                    <a:pt x="252" y="46"/>
                  </a:lnTo>
                  <a:lnTo>
                    <a:pt x="238" y="36"/>
                  </a:lnTo>
                  <a:lnTo>
                    <a:pt x="224" y="28"/>
                  </a:lnTo>
                  <a:lnTo>
                    <a:pt x="210" y="28"/>
                  </a:lnTo>
                  <a:lnTo>
                    <a:pt x="196" y="28"/>
                  </a:lnTo>
                  <a:lnTo>
                    <a:pt x="184" y="8"/>
                  </a:lnTo>
                  <a:lnTo>
                    <a:pt x="170" y="2"/>
                  </a:lnTo>
                  <a:lnTo>
                    <a:pt x="154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56"/>
            <p:cNvSpPr>
              <a:spLocks/>
            </p:cNvSpPr>
            <p:nvPr/>
          </p:nvSpPr>
          <p:spPr bwMode="auto">
            <a:xfrm>
              <a:off x="3236865" y="2527896"/>
              <a:ext cx="544115" cy="789265"/>
            </a:xfrm>
            <a:custGeom>
              <a:avLst/>
              <a:gdLst>
                <a:gd name="T0" fmla="*/ 324 w 364"/>
                <a:gd name="T1" fmla="*/ 372 h 528"/>
                <a:gd name="T2" fmla="*/ 350 w 364"/>
                <a:gd name="T3" fmla="*/ 356 h 528"/>
                <a:gd name="T4" fmla="*/ 350 w 364"/>
                <a:gd name="T5" fmla="*/ 320 h 528"/>
                <a:gd name="T6" fmla="*/ 364 w 364"/>
                <a:gd name="T7" fmla="*/ 302 h 528"/>
                <a:gd name="T8" fmla="*/ 356 w 364"/>
                <a:gd name="T9" fmla="*/ 268 h 528"/>
                <a:gd name="T10" fmla="*/ 342 w 364"/>
                <a:gd name="T11" fmla="*/ 242 h 528"/>
                <a:gd name="T12" fmla="*/ 328 w 364"/>
                <a:gd name="T13" fmla="*/ 208 h 528"/>
                <a:gd name="T14" fmla="*/ 328 w 364"/>
                <a:gd name="T15" fmla="*/ 172 h 528"/>
                <a:gd name="T16" fmla="*/ 338 w 364"/>
                <a:gd name="T17" fmla="*/ 138 h 528"/>
                <a:gd name="T18" fmla="*/ 324 w 364"/>
                <a:gd name="T19" fmla="*/ 104 h 528"/>
                <a:gd name="T20" fmla="*/ 324 w 364"/>
                <a:gd name="T21" fmla="*/ 70 h 528"/>
                <a:gd name="T22" fmla="*/ 316 w 364"/>
                <a:gd name="T23" fmla="*/ 34 h 528"/>
                <a:gd name="T24" fmla="*/ 326 w 364"/>
                <a:gd name="T25" fmla="*/ 6 h 528"/>
                <a:gd name="T26" fmla="*/ 316 w 364"/>
                <a:gd name="T27" fmla="*/ 8 h 528"/>
                <a:gd name="T28" fmla="*/ 288 w 364"/>
                <a:gd name="T29" fmla="*/ 0 h 528"/>
                <a:gd name="T30" fmla="*/ 278 w 364"/>
                <a:gd name="T31" fmla="*/ 8 h 528"/>
                <a:gd name="T32" fmla="*/ 260 w 364"/>
                <a:gd name="T33" fmla="*/ 34 h 528"/>
                <a:gd name="T34" fmla="*/ 236 w 364"/>
                <a:gd name="T35" fmla="*/ 42 h 528"/>
                <a:gd name="T36" fmla="*/ 216 w 364"/>
                <a:gd name="T37" fmla="*/ 78 h 528"/>
                <a:gd name="T38" fmla="*/ 216 w 364"/>
                <a:gd name="T39" fmla="*/ 104 h 528"/>
                <a:gd name="T40" fmla="*/ 216 w 364"/>
                <a:gd name="T41" fmla="*/ 138 h 528"/>
                <a:gd name="T42" fmla="*/ 216 w 364"/>
                <a:gd name="T43" fmla="*/ 172 h 528"/>
                <a:gd name="T44" fmla="*/ 194 w 364"/>
                <a:gd name="T45" fmla="*/ 208 h 528"/>
                <a:gd name="T46" fmla="*/ 216 w 364"/>
                <a:gd name="T47" fmla="*/ 234 h 528"/>
                <a:gd name="T48" fmla="*/ 202 w 364"/>
                <a:gd name="T49" fmla="*/ 260 h 528"/>
                <a:gd name="T50" fmla="*/ 174 w 364"/>
                <a:gd name="T51" fmla="*/ 268 h 528"/>
                <a:gd name="T52" fmla="*/ 142 w 364"/>
                <a:gd name="T53" fmla="*/ 260 h 528"/>
                <a:gd name="T54" fmla="*/ 114 w 364"/>
                <a:gd name="T55" fmla="*/ 278 h 528"/>
                <a:gd name="T56" fmla="*/ 88 w 364"/>
                <a:gd name="T57" fmla="*/ 294 h 528"/>
                <a:gd name="T58" fmla="*/ 60 w 364"/>
                <a:gd name="T59" fmla="*/ 302 h 528"/>
                <a:gd name="T60" fmla="*/ 34 w 364"/>
                <a:gd name="T61" fmla="*/ 328 h 528"/>
                <a:gd name="T62" fmla="*/ 26 w 364"/>
                <a:gd name="T63" fmla="*/ 372 h 528"/>
                <a:gd name="T64" fmla="*/ 6 w 364"/>
                <a:gd name="T65" fmla="*/ 406 h 528"/>
                <a:gd name="T66" fmla="*/ 12 w 364"/>
                <a:gd name="T67" fmla="*/ 440 h 528"/>
                <a:gd name="T68" fmla="*/ 12 w 364"/>
                <a:gd name="T69" fmla="*/ 478 h 528"/>
                <a:gd name="T70" fmla="*/ 6 w 364"/>
                <a:gd name="T71" fmla="*/ 494 h 528"/>
                <a:gd name="T72" fmla="*/ 34 w 364"/>
                <a:gd name="T73" fmla="*/ 512 h 528"/>
                <a:gd name="T74" fmla="*/ 60 w 364"/>
                <a:gd name="T75" fmla="*/ 528 h 528"/>
                <a:gd name="T76" fmla="*/ 88 w 364"/>
                <a:gd name="T77" fmla="*/ 520 h 528"/>
                <a:gd name="T78" fmla="*/ 114 w 364"/>
                <a:gd name="T79" fmla="*/ 502 h 528"/>
                <a:gd name="T80" fmla="*/ 142 w 364"/>
                <a:gd name="T81" fmla="*/ 486 h 528"/>
                <a:gd name="T82" fmla="*/ 136 w 364"/>
                <a:gd name="T83" fmla="*/ 450 h 528"/>
                <a:gd name="T84" fmla="*/ 154 w 364"/>
                <a:gd name="T85" fmla="*/ 432 h 528"/>
                <a:gd name="T86" fmla="*/ 182 w 364"/>
                <a:gd name="T87" fmla="*/ 432 h 528"/>
                <a:gd name="T88" fmla="*/ 208 w 364"/>
                <a:gd name="T89" fmla="*/ 440 h 528"/>
                <a:gd name="T90" fmla="*/ 236 w 364"/>
                <a:gd name="T91" fmla="*/ 432 h 528"/>
                <a:gd name="T92" fmla="*/ 268 w 364"/>
                <a:gd name="T93" fmla="*/ 416 h 528"/>
                <a:gd name="T94" fmla="*/ 292 w 364"/>
                <a:gd name="T95" fmla="*/ 400 h 528"/>
                <a:gd name="T96" fmla="*/ 304 w 364"/>
                <a:gd name="T97" fmla="*/ 39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4" h="528">
                  <a:moveTo>
                    <a:pt x="310" y="390"/>
                  </a:moveTo>
                  <a:lnTo>
                    <a:pt x="324" y="372"/>
                  </a:lnTo>
                  <a:lnTo>
                    <a:pt x="338" y="372"/>
                  </a:lnTo>
                  <a:lnTo>
                    <a:pt x="350" y="356"/>
                  </a:lnTo>
                  <a:lnTo>
                    <a:pt x="350" y="338"/>
                  </a:lnTo>
                  <a:lnTo>
                    <a:pt x="350" y="320"/>
                  </a:lnTo>
                  <a:lnTo>
                    <a:pt x="362" y="302"/>
                  </a:lnTo>
                  <a:lnTo>
                    <a:pt x="364" y="302"/>
                  </a:lnTo>
                  <a:lnTo>
                    <a:pt x="356" y="286"/>
                  </a:lnTo>
                  <a:lnTo>
                    <a:pt x="356" y="268"/>
                  </a:lnTo>
                  <a:lnTo>
                    <a:pt x="356" y="250"/>
                  </a:lnTo>
                  <a:lnTo>
                    <a:pt x="342" y="242"/>
                  </a:lnTo>
                  <a:lnTo>
                    <a:pt x="338" y="226"/>
                  </a:lnTo>
                  <a:lnTo>
                    <a:pt x="328" y="208"/>
                  </a:lnTo>
                  <a:lnTo>
                    <a:pt x="324" y="190"/>
                  </a:lnTo>
                  <a:lnTo>
                    <a:pt x="328" y="172"/>
                  </a:lnTo>
                  <a:lnTo>
                    <a:pt x="328" y="156"/>
                  </a:lnTo>
                  <a:lnTo>
                    <a:pt x="338" y="138"/>
                  </a:lnTo>
                  <a:lnTo>
                    <a:pt x="324" y="122"/>
                  </a:lnTo>
                  <a:lnTo>
                    <a:pt x="324" y="104"/>
                  </a:lnTo>
                  <a:lnTo>
                    <a:pt x="324" y="86"/>
                  </a:lnTo>
                  <a:lnTo>
                    <a:pt x="324" y="70"/>
                  </a:lnTo>
                  <a:lnTo>
                    <a:pt x="316" y="52"/>
                  </a:lnTo>
                  <a:lnTo>
                    <a:pt x="316" y="34"/>
                  </a:lnTo>
                  <a:lnTo>
                    <a:pt x="324" y="18"/>
                  </a:lnTo>
                  <a:lnTo>
                    <a:pt x="326" y="6"/>
                  </a:lnTo>
                  <a:lnTo>
                    <a:pt x="324" y="6"/>
                  </a:lnTo>
                  <a:lnTo>
                    <a:pt x="316" y="8"/>
                  </a:lnTo>
                  <a:lnTo>
                    <a:pt x="304" y="0"/>
                  </a:lnTo>
                  <a:lnTo>
                    <a:pt x="288" y="0"/>
                  </a:lnTo>
                  <a:lnTo>
                    <a:pt x="278" y="0"/>
                  </a:lnTo>
                  <a:lnTo>
                    <a:pt x="278" y="8"/>
                  </a:lnTo>
                  <a:lnTo>
                    <a:pt x="278" y="26"/>
                  </a:lnTo>
                  <a:lnTo>
                    <a:pt x="260" y="34"/>
                  </a:lnTo>
                  <a:lnTo>
                    <a:pt x="250" y="34"/>
                  </a:lnTo>
                  <a:lnTo>
                    <a:pt x="236" y="42"/>
                  </a:lnTo>
                  <a:lnTo>
                    <a:pt x="222" y="60"/>
                  </a:lnTo>
                  <a:lnTo>
                    <a:pt x="216" y="78"/>
                  </a:lnTo>
                  <a:lnTo>
                    <a:pt x="202" y="96"/>
                  </a:lnTo>
                  <a:lnTo>
                    <a:pt x="216" y="104"/>
                  </a:lnTo>
                  <a:lnTo>
                    <a:pt x="216" y="122"/>
                  </a:lnTo>
                  <a:lnTo>
                    <a:pt x="216" y="138"/>
                  </a:lnTo>
                  <a:lnTo>
                    <a:pt x="216" y="156"/>
                  </a:lnTo>
                  <a:lnTo>
                    <a:pt x="216" y="172"/>
                  </a:lnTo>
                  <a:lnTo>
                    <a:pt x="202" y="190"/>
                  </a:lnTo>
                  <a:lnTo>
                    <a:pt x="194" y="208"/>
                  </a:lnTo>
                  <a:lnTo>
                    <a:pt x="208" y="216"/>
                  </a:lnTo>
                  <a:lnTo>
                    <a:pt x="216" y="234"/>
                  </a:lnTo>
                  <a:lnTo>
                    <a:pt x="216" y="250"/>
                  </a:lnTo>
                  <a:lnTo>
                    <a:pt x="202" y="260"/>
                  </a:lnTo>
                  <a:lnTo>
                    <a:pt x="188" y="260"/>
                  </a:lnTo>
                  <a:lnTo>
                    <a:pt x="174" y="268"/>
                  </a:lnTo>
                  <a:lnTo>
                    <a:pt x="154" y="260"/>
                  </a:lnTo>
                  <a:lnTo>
                    <a:pt x="142" y="260"/>
                  </a:lnTo>
                  <a:lnTo>
                    <a:pt x="128" y="268"/>
                  </a:lnTo>
                  <a:lnTo>
                    <a:pt x="114" y="278"/>
                  </a:lnTo>
                  <a:lnTo>
                    <a:pt x="100" y="294"/>
                  </a:lnTo>
                  <a:lnTo>
                    <a:pt x="88" y="294"/>
                  </a:lnTo>
                  <a:lnTo>
                    <a:pt x="74" y="302"/>
                  </a:lnTo>
                  <a:lnTo>
                    <a:pt x="60" y="302"/>
                  </a:lnTo>
                  <a:lnTo>
                    <a:pt x="46" y="312"/>
                  </a:lnTo>
                  <a:lnTo>
                    <a:pt x="34" y="328"/>
                  </a:lnTo>
                  <a:lnTo>
                    <a:pt x="34" y="356"/>
                  </a:lnTo>
                  <a:lnTo>
                    <a:pt x="26" y="372"/>
                  </a:lnTo>
                  <a:lnTo>
                    <a:pt x="20" y="390"/>
                  </a:lnTo>
                  <a:lnTo>
                    <a:pt x="6" y="406"/>
                  </a:lnTo>
                  <a:lnTo>
                    <a:pt x="12" y="424"/>
                  </a:lnTo>
                  <a:lnTo>
                    <a:pt x="12" y="440"/>
                  </a:lnTo>
                  <a:lnTo>
                    <a:pt x="20" y="458"/>
                  </a:lnTo>
                  <a:lnTo>
                    <a:pt x="12" y="478"/>
                  </a:lnTo>
                  <a:lnTo>
                    <a:pt x="0" y="494"/>
                  </a:lnTo>
                  <a:lnTo>
                    <a:pt x="6" y="494"/>
                  </a:lnTo>
                  <a:lnTo>
                    <a:pt x="20" y="502"/>
                  </a:lnTo>
                  <a:lnTo>
                    <a:pt x="34" y="512"/>
                  </a:lnTo>
                  <a:lnTo>
                    <a:pt x="46" y="520"/>
                  </a:lnTo>
                  <a:lnTo>
                    <a:pt x="60" y="528"/>
                  </a:lnTo>
                  <a:lnTo>
                    <a:pt x="74" y="528"/>
                  </a:lnTo>
                  <a:lnTo>
                    <a:pt x="88" y="520"/>
                  </a:lnTo>
                  <a:lnTo>
                    <a:pt x="100" y="502"/>
                  </a:lnTo>
                  <a:lnTo>
                    <a:pt x="114" y="502"/>
                  </a:lnTo>
                  <a:lnTo>
                    <a:pt x="136" y="502"/>
                  </a:lnTo>
                  <a:lnTo>
                    <a:pt x="142" y="486"/>
                  </a:lnTo>
                  <a:lnTo>
                    <a:pt x="142" y="468"/>
                  </a:lnTo>
                  <a:lnTo>
                    <a:pt x="136" y="450"/>
                  </a:lnTo>
                  <a:lnTo>
                    <a:pt x="142" y="432"/>
                  </a:lnTo>
                  <a:lnTo>
                    <a:pt x="154" y="432"/>
                  </a:lnTo>
                  <a:lnTo>
                    <a:pt x="168" y="432"/>
                  </a:lnTo>
                  <a:lnTo>
                    <a:pt x="182" y="432"/>
                  </a:lnTo>
                  <a:lnTo>
                    <a:pt x="194" y="432"/>
                  </a:lnTo>
                  <a:lnTo>
                    <a:pt x="208" y="440"/>
                  </a:lnTo>
                  <a:lnTo>
                    <a:pt x="222" y="440"/>
                  </a:lnTo>
                  <a:lnTo>
                    <a:pt x="236" y="432"/>
                  </a:lnTo>
                  <a:lnTo>
                    <a:pt x="250" y="416"/>
                  </a:lnTo>
                  <a:lnTo>
                    <a:pt x="268" y="416"/>
                  </a:lnTo>
                  <a:lnTo>
                    <a:pt x="282" y="406"/>
                  </a:lnTo>
                  <a:lnTo>
                    <a:pt x="292" y="400"/>
                  </a:lnTo>
                  <a:lnTo>
                    <a:pt x="306" y="390"/>
                  </a:lnTo>
                  <a:lnTo>
                    <a:pt x="304" y="390"/>
                  </a:lnTo>
                  <a:lnTo>
                    <a:pt x="310" y="39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58"/>
            <p:cNvSpPr>
              <a:spLocks/>
            </p:cNvSpPr>
            <p:nvPr/>
          </p:nvSpPr>
          <p:spPr bwMode="auto">
            <a:xfrm>
              <a:off x="3966337" y="2707274"/>
              <a:ext cx="343809" cy="233192"/>
            </a:xfrm>
            <a:custGeom>
              <a:avLst/>
              <a:gdLst>
                <a:gd name="T0" fmla="*/ 230 w 230"/>
                <a:gd name="T1" fmla="*/ 130 h 156"/>
                <a:gd name="T2" fmla="*/ 230 w 230"/>
                <a:gd name="T3" fmla="*/ 120 h 156"/>
                <a:gd name="T4" fmla="*/ 230 w 230"/>
                <a:gd name="T5" fmla="*/ 104 h 156"/>
                <a:gd name="T6" fmla="*/ 230 w 230"/>
                <a:gd name="T7" fmla="*/ 86 h 156"/>
                <a:gd name="T8" fmla="*/ 222 w 230"/>
                <a:gd name="T9" fmla="*/ 70 h 156"/>
                <a:gd name="T10" fmla="*/ 216 w 230"/>
                <a:gd name="T11" fmla="*/ 52 h 156"/>
                <a:gd name="T12" fmla="*/ 204 w 230"/>
                <a:gd name="T13" fmla="*/ 42 h 156"/>
                <a:gd name="T14" fmla="*/ 190 w 230"/>
                <a:gd name="T15" fmla="*/ 34 h 156"/>
                <a:gd name="T16" fmla="*/ 176 w 230"/>
                <a:gd name="T17" fmla="*/ 34 h 156"/>
                <a:gd name="T18" fmla="*/ 162 w 230"/>
                <a:gd name="T19" fmla="*/ 26 h 156"/>
                <a:gd name="T20" fmla="*/ 148 w 230"/>
                <a:gd name="T21" fmla="*/ 26 h 156"/>
                <a:gd name="T22" fmla="*/ 134 w 230"/>
                <a:gd name="T23" fmla="*/ 26 h 156"/>
                <a:gd name="T24" fmla="*/ 120 w 230"/>
                <a:gd name="T25" fmla="*/ 26 h 156"/>
                <a:gd name="T26" fmla="*/ 108 w 230"/>
                <a:gd name="T27" fmla="*/ 26 h 156"/>
                <a:gd name="T28" fmla="*/ 94 w 230"/>
                <a:gd name="T29" fmla="*/ 8 h 156"/>
                <a:gd name="T30" fmla="*/ 88 w 230"/>
                <a:gd name="T31" fmla="*/ 0 h 156"/>
                <a:gd name="T32" fmla="*/ 74 w 230"/>
                <a:gd name="T33" fmla="*/ 8 h 156"/>
                <a:gd name="T34" fmla="*/ 60 w 230"/>
                <a:gd name="T35" fmla="*/ 16 h 156"/>
                <a:gd name="T36" fmla="*/ 52 w 230"/>
                <a:gd name="T37" fmla="*/ 34 h 156"/>
                <a:gd name="T38" fmla="*/ 46 w 230"/>
                <a:gd name="T39" fmla="*/ 52 h 156"/>
                <a:gd name="T40" fmla="*/ 38 w 230"/>
                <a:gd name="T41" fmla="*/ 70 h 156"/>
                <a:gd name="T42" fmla="*/ 26 w 230"/>
                <a:gd name="T43" fmla="*/ 70 h 156"/>
                <a:gd name="T44" fmla="*/ 14 w 230"/>
                <a:gd name="T45" fmla="*/ 78 h 156"/>
                <a:gd name="T46" fmla="*/ 0 w 230"/>
                <a:gd name="T47" fmla="*/ 94 h 156"/>
                <a:gd name="T48" fmla="*/ 14 w 230"/>
                <a:gd name="T49" fmla="*/ 112 h 156"/>
                <a:gd name="T50" fmla="*/ 26 w 230"/>
                <a:gd name="T51" fmla="*/ 120 h 156"/>
                <a:gd name="T52" fmla="*/ 38 w 230"/>
                <a:gd name="T53" fmla="*/ 112 h 156"/>
                <a:gd name="T54" fmla="*/ 52 w 230"/>
                <a:gd name="T55" fmla="*/ 112 h 156"/>
                <a:gd name="T56" fmla="*/ 66 w 230"/>
                <a:gd name="T57" fmla="*/ 104 h 156"/>
                <a:gd name="T58" fmla="*/ 80 w 230"/>
                <a:gd name="T59" fmla="*/ 94 h 156"/>
                <a:gd name="T60" fmla="*/ 88 w 230"/>
                <a:gd name="T61" fmla="*/ 112 h 156"/>
                <a:gd name="T62" fmla="*/ 74 w 230"/>
                <a:gd name="T63" fmla="*/ 120 h 156"/>
                <a:gd name="T64" fmla="*/ 74 w 230"/>
                <a:gd name="T65" fmla="*/ 138 h 156"/>
                <a:gd name="T66" fmla="*/ 88 w 230"/>
                <a:gd name="T67" fmla="*/ 148 h 156"/>
                <a:gd name="T68" fmla="*/ 102 w 230"/>
                <a:gd name="T69" fmla="*/ 138 h 156"/>
                <a:gd name="T70" fmla="*/ 114 w 230"/>
                <a:gd name="T71" fmla="*/ 148 h 156"/>
                <a:gd name="T72" fmla="*/ 128 w 230"/>
                <a:gd name="T73" fmla="*/ 156 h 156"/>
                <a:gd name="T74" fmla="*/ 134 w 230"/>
                <a:gd name="T75" fmla="*/ 148 h 156"/>
                <a:gd name="T76" fmla="*/ 134 w 230"/>
                <a:gd name="T77" fmla="*/ 130 h 156"/>
                <a:gd name="T78" fmla="*/ 148 w 230"/>
                <a:gd name="T79" fmla="*/ 120 h 156"/>
                <a:gd name="T80" fmla="*/ 162 w 230"/>
                <a:gd name="T81" fmla="*/ 130 h 156"/>
                <a:gd name="T82" fmla="*/ 176 w 230"/>
                <a:gd name="T83" fmla="*/ 130 h 156"/>
                <a:gd name="T84" fmla="*/ 190 w 230"/>
                <a:gd name="T85" fmla="*/ 120 h 156"/>
                <a:gd name="T86" fmla="*/ 204 w 230"/>
                <a:gd name="T87" fmla="*/ 138 h 156"/>
                <a:gd name="T88" fmla="*/ 216 w 230"/>
                <a:gd name="T89" fmla="*/ 138 h 156"/>
                <a:gd name="T90" fmla="*/ 230 w 230"/>
                <a:gd name="T91" fmla="*/ 13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0" h="156">
                  <a:moveTo>
                    <a:pt x="230" y="130"/>
                  </a:moveTo>
                  <a:lnTo>
                    <a:pt x="230" y="120"/>
                  </a:lnTo>
                  <a:lnTo>
                    <a:pt x="230" y="104"/>
                  </a:lnTo>
                  <a:lnTo>
                    <a:pt x="230" y="86"/>
                  </a:lnTo>
                  <a:lnTo>
                    <a:pt x="222" y="70"/>
                  </a:lnTo>
                  <a:lnTo>
                    <a:pt x="216" y="52"/>
                  </a:lnTo>
                  <a:lnTo>
                    <a:pt x="204" y="42"/>
                  </a:lnTo>
                  <a:lnTo>
                    <a:pt x="190" y="34"/>
                  </a:lnTo>
                  <a:lnTo>
                    <a:pt x="176" y="34"/>
                  </a:lnTo>
                  <a:lnTo>
                    <a:pt x="162" y="26"/>
                  </a:lnTo>
                  <a:lnTo>
                    <a:pt x="148" y="26"/>
                  </a:lnTo>
                  <a:lnTo>
                    <a:pt x="134" y="26"/>
                  </a:lnTo>
                  <a:lnTo>
                    <a:pt x="120" y="26"/>
                  </a:lnTo>
                  <a:lnTo>
                    <a:pt x="108" y="26"/>
                  </a:lnTo>
                  <a:lnTo>
                    <a:pt x="94" y="8"/>
                  </a:lnTo>
                  <a:lnTo>
                    <a:pt x="88" y="0"/>
                  </a:lnTo>
                  <a:lnTo>
                    <a:pt x="74" y="8"/>
                  </a:lnTo>
                  <a:lnTo>
                    <a:pt x="60" y="16"/>
                  </a:lnTo>
                  <a:lnTo>
                    <a:pt x="52" y="34"/>
                  </a:lnTo>
                  <a:lnTo>
                    <a:pt x="46" y="52"/>
                  </a:lnTo>
                  <a:lnTo>
                    <a:pt x="38" y="70"/>
                  </a:lnTo>
                  <a:lnTo>
                    <a:pt x="26" y="70"/>
                  </a:lnTo>
                  <a:lnTo>
                    <a:pt x="14" y="78"/>
                  </a:lnTo>
                  <a:lnTo>
                    <a:pt x="0" y="94"/>
                  </a:lnTo>
                  <a:lnTo>
                    <a:pt x="14" y="112"/>
                  </a:lnTo>
                  <a:lnTo>
                    <a:pt x="26" y="120"/>
                  </a:lnTo>
                  <a:lnTo>
                    <a:pt x="38" y="112"/>
                  </a:lnTo>
                  <a:lnTo>
                    <a:pt x="52" y="112"/>
                  </a:lnTo>
                  <a:lnTo>
                    <a:pt x="66" y="104"/>
                  </a:lnTo>
                  <a:lnTo>
                    <a:pt x="80" y="94"/>
                  </a:lnTo>
                  <a:lnTo>
                    <a:pt x="88" y="112"/>
                  </a:lnTo>
                  <a:lnTo>
                    <a:pt x="74" y="120"/>
                  </a:lnTo>
                  <a:lnTo>
                    <a:pt x="74" y="138"/>
                  </a:lnTo>
                  <a:lnTo>
                    <a:pt x="88" y="148"/>
                  </a:lnTo>
                  <a:lnTo>
                    <a:pt x="102" y="138"/>
                  </a:lnTo>
                  <a:lnTo>
                    <a:pt x="114" y="148"/>
                  </a:lnTo>
                  <a:lnTo>
                    <a:pt x="128" y="156"/>
                  </a:lnTo>
                  <a:lnTo>
                    <a:pt x="134" y="148"/>
                  </a:lnTo>
                  <a:lnTo>
                    <a:pt x="134" y="130"/>
                  </a:lnTo>
                  <a:lnTo>
                    <a:pt x="148" y="120"/>
                  </a:lnTo>
                  <a:lnTo>
                    <a:pt x="162" y="130"/>
                  </a:lnTo>
                  <a:lnTo>
                    <a:pt x="176" y="130"/>
                  </a:lnTo>
                  <a:lnTo>
                    <a:pt x="190" y="120"/>
                  </a:lnTo>
                  <a:lnTo>
                    <a:pt x="204" y="138"/>
                  </a:lnTo>
                  <a:lnTo>
                    <a:pt x="216" y="138"/>
                  </a:lnTo>
                  <a:lnTo>
                    <a:pt x="230" y="13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60"/>
            <p:cNvSpPr>
              <a:spLocks/>
            </p:cNvSpPr>
            <p:nvPr/>
          </p:nvSpPr>
          <p:spPr bwMode="auto">
            <a:xfrm>
              <a:off x="3712217" y="2512947"/>
              <a:ext cx="385664" cy="511228"/>
            </a:xfrm>
            <a:custGeom>
              <a:avLst/>
              <a:gdLst>
                <a:gd name="T0" fmla="*/ 170 w 258"/>
                <a:gd name="T1" fmla="*/ 224 h 342"/>
                <a:gd name="T2" fmla="*/ 196 w 258"/>
                <a:gd name="T3" fmla="*/ 198 h 342"/>
                <a:gd name="T4" fmla="*/ 216 w 258"/>
                <a:gd name="T5" fmla="*/ 182 h 342"/>
                <a:gd name="T6" fmla="*/ 230 w 258"/>
                <a:gd name="T7" fmla="*/ 146 h 342"/>
                <a:gd name="T8" fmla="*/ 258 w 258"/>
                <a:gd name="T9" fmla="*/ 130 h 342"/>
                <a:gd name="T10" fmla="*/ 236 w 258"/>
                <a:gd name="T11" fmla="*/ 122 h 342"/>
                <a:gd name="T12" fmla="*/ 210 w 258"/>
                <a:gd name="T13" fmla="*/ 104 h 342"/>
                <a:gd name="T14" fmla="*/ 190 w 258"/>
                <a:gd name="T15" fmla="*/ 80 h 342"/>
                <a:gd name="T16" fmla="*/ 162 w 258"/>
                <a:gd name="T17" fmla="*/ 50 h 342"/>
                <a:gd name="T18" fmla="*/ 130 w 258"/>
                <a:gd name="T19" fmla="*/ 26 h 342"/>
                <a:gd name="T20" fmla="*/ 94 w 258"/>
                <a:gd name="T21" fmla="*/ 8 h 342"/>
                <a:gd name="T22" fmla="*/ 68 w 258"/>
                <a:gd name="T23" fmla="*/ 0 h 342"/>
                <a:gd name="T24" fmla="*/ 42 w 258"/>
                <a:gd name="T25" fmla="*/ 8 h 342"/>
                <a:gd name="T26" fmla="*/ 14 w 258"/>
                <a:gd name="T27" fmla="*/ 8 h 342"/>
                <a:gd name="T28" fmla="*/ 10 w 258"/>
                <a:gd name="T29" fmla="*/ 6 h 342"/>
                <a:gd name="T30" fmla="*/ 0 w 258"/>
                <a:gd name="T31" fmla="*/ 34 h 342"/>
                <a:gd name="T32" fmla="*/ 6 w 258"/>
                <a:gd name="T33" fmla="*/ 70 h 342"/>
                <a:gd name="T34" fmla="*/ 6 w 258"/>
                <a:gd name="T35" fmla="*/ 104 h 342"/>
                <a:gd name="T36" fmla="*/ 22 w 258"/>
                <a:gd name="T37" fmla="*/ 140 h 342"/>
                <a:gd name="T38" fmla="*/ 14 w 258"/>
                <a:gd name="T39" fmla="*/ 174 h 342"/>
                <a:gd name="T40" fmla="*/ 14 w 258"/>
                <a:gd name="T41" fmla="*/ 208 h 342"/>
                <a:gd name="T42" fmla="*/ 28 w 258"/>
                <a:gd name="T43" fmla="*/ 242 h 342"/>
                <a:gd name="T44" fmla="*/ 42 w 258"/>
                <a:gd name="T45" fmla="*/ 268 h 342"/>
                <a:gd name="T46" fmla="*/ 48 w 258"/>
                <a:gd name="T47" fmla="*/ 304 h 342"/>
                <a:gd name="T48" fmla="*/ 46 w 258"/>
                <a:gd name="T49" fmla="*/ 300 h 342"/>
                <a:gd name="T50" fmla="*/ 68 w 258"/>
                <a:gd name="T51" fmla="*/ 312 h 342"/>
                <a:gd name="T52" fmla="*/ 94 w 258"/>
                <a:gd name="T53" fmla="*/ 304 h 342"/>
                <a:gd name="T54" fmla="*/ 122 w 258"/>
                <a:gd name="T55" fmla="*/ 328 h 342"/>
                <a:gd name="T56" fmla="*/ 142 w 258"/>
                <a:gd name="T57" fmla="*/ 336 h 342"/>
                <a:gd name="T58" fmla="*/ 168 w 258"/>
                <a:gd name="T59" fmla="*/ 316 h 342"/>
                <a:gd name="T60" fmla="*/ 170 w 258"/>
                <a:gd name="T61" fmla="*/ 286 h 342"/>
                <a:gd name="T62" fmla="*/ 176 w 258"/>
                <a:gd name="T63" fmla="*/ 250 h 342"/>
                <a:gd name="T64" fmla="*/ 184 w 258"/>
                <a:gd name="T65" fmla="*/ 2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8" h="342">
                  <a:moveTo>
                    <a:pt x="184" y="242"/>
                  </a:moveTo>
                  <a:lnTo>
                    <a:pt x="170" y="224"/>
                  </a:lnTo>
                  <a:lnTo>
                    <a:pt x="184" y="208"/>
                  </a:lnTo>
                  <a:lnTo>
                    <a:pt x="196" y="198"/>
                  </a:lnTo>
                  <a:lnTo>
                    <a:pt x="210" y="198"/>
                  </a:lnTo>
                  <a:lnTo>
                    <a:pt x="216" y="182"/>
                  </a:lnTo>
                  <a:lnTo>
                    <a:pt x="222" y="164"/>
                  </a:lnTo>
                  <a:lnTo>
                    <a:pt x="230" y="146"/>
                  </a:lnTo>
                  <a:lnTo>
                    <a:pt x="244" y="140"/>
                  </a:lnTo>
                  <a:lnTo>
                    <a:pt x="258" y="130"/>
                  </a:lnTo>
                  <a:lnTo>
                    <a:pt x="250" y="122"/>
                  </a:lnTo>
                  <a:lnTo>
                    <a:pt x="236" y="122"/>
                  </a:lnTo>
                  <a:lnTo>
                    <a:pt x="222" y="112"/>
                  </a:lnTo>
                  <a:lnTo>
                    <a:pt x="210" y="104"/>
                  </a:lnTo>
                  <a:lnTo>
                    <a:pt x="204" y="86"/>
                  </a:lnTo>
                  <a:lnTo>
                    <a:pt x="190" y="80"/>
                  </a:lnTo>
                  <a:lnTo>
                    <a:pt x="176" y="60"/>
                  </a:lnTo>
                  <a:lnTo>
                    <a:pt x="162" y="50"/>
                  </a:lnTo>
                  <a:lnTo>
                    <a:pt x="148" y="42"/>
                  </a:lnTo>
                  <a:lnTo>
                    <a:pt x="130" y="26"/>
                  </a:lnTo>
                  <a:lnTo>
                    <a:pt x="108" y="16"/>
                  </a:lnTo>
                  <a:lnTo>
                    <a:pt x="94" y="8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4" y="8"/>
                  </a:lnTo>
                  <a:lnTo>
                    <a:pt x="42" y="8"/>
                  </a:lnTo>
                  <a:lnTo>
                    <a:pt x="28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0" y="6"/>
                  </a:lnTo>
                  <a:lnTo>
                    <a:pt x="6" y="16"/>
                  </a:lnTo>
                  <a:lnTo>
                    <a:pt x="0" y="34"/>
                  </a:lnTo>
                  <a:lnTo>
                    <a:pt x="0" y="50"/>
                  </a:lnTo>
                  <a:lnTo>
                    <a:pt x="6" y="70"/>
                  </a:lnTo>
                  <a:lnTo>
                    <a:pt x="6" y="86"/>
                  </a:lnTo>
                  <a:lnTo>
                    <a:pt x="6" y="104"/>
                  </a:lnTo>
                  <a:lnTo>
                    <a:pt x="6" y="122"/>
                  </a:lnTo>
                  <a:lnTo>
                    <a:pt x="22" y="140"/>
                  </a:lnTo>
                  <a:lnTo>
                    <a:pt x="14" y="156"/>
                  </a:lnTo>
                  <a:lnTo>
                    <a:pt x="14" y="174"/>
                  </a:lnTo>
                  <a:lnTo>
                    <a:pt x="6" y="190"/>
                  </a:lnTo>
                  <a:lnTo>
                    <a:pt x="14" y="208"/>
                  </a:lnTo>
                  <a:lnTo>
                    <a:pt x="22" y="224"/>
                  </a:lnTo>
                  <a:lnTo>
                    <a:pt x="28" y="242"/>
                  </a:lnTo>
                  <a:lnTo>
                    <a:pt x="42" y="250"/>
                  </a:lnTo>
                  <a:lnTo>
                    <a:pt x="42" y="268"/>
                  </a:lnTo>
                  <a:lnTo>
                    <a:pt x="42" y="286"/>
                  </a:lnTo>
                  <a:lnTo>
                    <a:pt x="48" y="304"/>
                  </a:lnTo>
                  <a:lnTo>
                    <a:pt x="42" y="304"/>
                  </a:lnTo>
                  <a:lnTo>
                    <a:pt x="46" y="300"/>
                  </a:lnTo>
                  <a:lnTo>
                    <a:pt x="54" y="312"/>
                  </a:lnTo>
                  <a:lnTo>
                    <a:pt x="68" y="312"/>
                  </a:lnTo>
                  <a:lnTo>
                    <a:pt x="82" y="304"/>
                  </a:lnTo>
                  <a:lnTo>
                    <a:pt x="94" y="304"/>
                  </a:lnTo>
                  <a:lnTo>
                    <a:pt x="108" y="312"/>
                  </a:lnTo>
                  <a:lnTo>
                    <a:pt x="122" y="328"/>
                  </a:lnTo>
                  <a:lnTo>
                    <a:pt x="136" y="342"/>
                  </a:lnTo>
                  <a:lnTo>
                    <a:pt x="142" y="336"/>
                  </a:lnTo>
                  <a:lnTo>
                    <a:pt x="152" y="316"/>
                  </a:lnTo>
                  <a:lnTo>
                    <a:pt x="168" y="316"/>
                  </a:lnTo>
                  <a:lnTo>
                    <a:pt x="170" y="304"/>
                  </a:lnTo>
                  <a:lnTo>
                    <a:pt x="170" y="286"/>
                  </a:lnTo>
                  <a:lnTo>
                    <a:pt x="176" y="268"/>
                  </a:lnTo>
                  <a:lnTo>
                    <a:pt x="176" y="250"/>
                  </a:lnTo>
                  <a:lnTo>
                    <a:pt x="180" y="242"/>
                  </a:lnTo>
                  <a:lnTo>
                    <a:pt x="184" y="242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86"/>
            <p:cNvSpPr>
              <a:spLocks/>
            </p:cNvSpPr>
            <p:nvPr/>
          </p:nvSpPr>
          <p:spPr bwMode="auto">
            <a:xfrm>
              <a:off x="1948330" y="1956874"/>
              <a:ext cx="1288535" cy="1243690"/>
            </a:xfrm>
            <a:custGeom>
              <a:avLst/>
              <a:gdLst>
                <a:gd name="T0" fmla="*/ 546 w 862"/>
                <a:gd name="T1" fmla="*/ 174 h 832"/>
                <a:gd name="T2" fmla="*/ 592 w 862"/>
                <a:gd name="T3" fmla="*/ 182 h 832"/>
                <a:gd name="T4" fmla="*/ 648 w 862"/>
                <a:gd name="T5" fmla="*/ 192 h 832"/>
                <a:gd name="T6" fmla="*/ 700 w 862"/>
                <a:gd name="T7" fmla="*/ 192 h 832"/>
                <a:gd name="T8" fmla="*/ 680 w 862"/>
                <a:gd name="T9" fmla="*/ 260 h 832"/>
                <a:gd name="T10" fmla="*/ 712 w 862"/>
                <a:gd name="T11" fmla="*/ 252 h 832"/>
                <a:gd name="T12" fmla="*/ 768 w 862"/>
                <a:gd name="T13" fmla="*/ 216 h 832"/>
                <a:gd name="T14" fmla="*/ 822 w 862"/>
                <a:gd name="T15" fmla="*/ 244 h 832"/>
                <a:gd name="T16" fmla="*/ 862 w 862"/>
                <a:gd name="T17" fmla="*/ 250 h 832"/>
                <a:gd name="T18" fmla="*/ 850 w 862"/>
                <a:gd name="T19" fmla="*/ 322 h 832"/>
                <a:gd name="T20" fmla="*/ 822 w 862"/>
                <a:gd name="T21" fmla="*/ 382 h 832"/>
                <a:gd name="T22" fmla="*/ 782 w 862"/>
                <a:gd name="T23" fmla="*/ 442 h 832"/>
                <a:gd name="T24" fmla="*/ 740 w 862"/>
                <a:gd name="T25" fmla="*/ 484 h 832"/>
                <a:gd name="T26" fmla="*/ 688 w 862"/>
                <a:gd name="T27" fmla="*/ 512 h 832"/>
                <a:gd name="T28" fmla="*/ 726 w 862"/>
                <a:gd name="T29" fmla="*/ 546 h 832"/>
                <a:gd name="T30" fmla="*/ 694 w 862"/>
                <a:gd name="T31" fmla="*/ 606 h 832"/>
                <a:gd name="T32" fmla="*/ 648 w 862"/>
                <a:gd name="T33" fmla="*/ 640 h 832"/>
                <a:gd name="T34" fmla="*/ 648 w 862"/>
                <a:gd name="T35" fmla="*/ 710 h 832"/>
                <a:gd name="T36" fmla="*/ 612 w 862"/>
                <a:gd name="T37" fmla="*/ 772 h 832"/>
                <a:gd name="T38" fmla="*/ 574 w 862"/>
                <a:gd name="T39" fmla="*/ 822 h 832"/>
                <a:gd name="T40" fmla="*/ 492 w 862"/>
                <a:gd name="T41" fmla="*/ 832 h 832"/>
                <a:gd name="T42" fmla="*/ 404 w 862"/>
                <a:gd name="T43" fmla="*/ 822 h 832"/>
                <a:gd name="T44" fmla="*/ 330 w 862"/>
                <a:gd name="T45" fmla="*/ 822 h 832"/>
                <a:gd name="T46" fmla="*/ 242 w 862"/>
                <a:gd name="T47" fmla="*/ 822 h 832"/>
                <a:gd name="T48" fmla="*/ 174 w 862"/>
                <a:gd name="T49" fmla="*/ 822 h 832"/>
                <a:gd name="T50" fmla="*/ 136 w 862"/>
                <a:gd name="T51" fmla="*/ 780 h 832"/>
                <a:gd name="T52" fmla="*/ 100 w 862"/>
                <a:gd name="T53" fmla="*/ 728 h 832"/>
                <a:gd name="T54" fmla="*/ 80 w 862"/>
                <a:gd name="T55" fmla="*/ 676 h 832"/>
                <a:gd name="T56" fmla="*/ 60 w 862"/>
                <a:gd name="T57" fmla="*/ 616 h 832"/>
                <a:gd name="T58" fmla="*/ 94 w 862"/>
                <a:gd name="T59" fmla="*/ 520 h 832"/>
                <a:gd name="T60" fmla="*/ 140 w 862"/>
                <a:gd name="T61" fmla="*/ 424 h 832"/>
                <a:gd name="T62" fmla="*/ 180 w 862"/>
                <a:gd name="T63" fmla="*/ 322 h 832"/>
                <a:gd name="T64" fmla="*/ 126 w 862"/>
                <a:gd name="T65" fmla="*/ 304 h 832"/>
                <a:gd name="T66" fmla="*/ 88 w 862"/>
                <a:gd name="T67" fmla="*/ 278 h 832"/>
                <a:gd name="T68" fmla="*/ 38 w 862"/>
                <a:gd name="T69" fmla="*/ 244 h 832"/>
                <a:gd name="T70" fmla="*/ 6 w 862"/>
                <a:gd name="T71" fmla="*/ 174 h 832"/>
                <a:gd name="T72" fmla="*/ 8 w 862"/>
                <a:gd name="T73" fmla="*/ 130 h 832"/>
                <a:gd name="T74" fmla="*/ 8 w 862"/>
                <a:gd name="T75" fmla="*/ 94 h 832"/>
                <a:gd name="T76" fmla="*/ 60 w 862"/>
                <a:gd name="T77" fmla="*/ 70 h 832"/>
                <a:gd name="T78" fmla="*/ 114 w 862"/>
                <a:gd name="T79" fmla="*/ 42 h 832"/>
                <a:gd name="T80" fmla="*/ 170 w 862"/>
                <a:gd name="T81" fmla="*/ 50 h 832"/>
                <a:gd name="T82" fmla="*/ 202 w 862"/>
                <a:gd name="T83" fmla="*/ 28 h 832"/>
                <a:gd name="T84" fmla="*/ 242 w 862"/>
                <a:gd name="T85" fmla="*/ 10 h 832"/>
                <a:gd name="T86" fmla="*/ 278 w 862"/>
                <a:gd name="T87" fmla="*/ 16 h 832"/>
                <a:gd name="T88" fmla="*/ 324 w 862"/>
                <a:gd name="T89" fmla="*/ 62 h 832"/>
                <a:gd name="T90" fmla="*/ 370 w 862"/>
                <a:gd name="T91" fmla="*/ 88 h 832"/>
                <a:gd name="T92" fmla="*/ 404 w 862"/>
                <a:gd name="T93" fmla="*/ 148 h 832"/>
                <a:gd name="T94" fmla="*/ 436 w 862"/>
                <a:gd name="T95" fmla="*/ 210 h 832"/>
                <a:gd name="T96" fmla="*/ 484 w 862"/>
                <a:gd name="T97" fmla="*/ 234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2" h="832">
                  <a:moveTo>
                    <a:pt x="502" y="208"/>
                  </a:moveTo>
                  <a:lnTo>
                    <a:pt x="520" y="200"/>
                  </a:lnTo>
                  <a:lnTo>
                    <a:pt x="534" y="192"/>
                  </a:lnTo>
                  <a:lnTo>
                    <a:pt x="546" y="174"/>
                  </a:lnTo>
                  <a:lnTo>
                    <a:pt x="558" y="174"/>
                  </a:lnTo>
                  <a:lnTo>
                    <a:pt x="564" y="192"/>
                  </a:lnTo>
                  <a:lnTo>
                    <a:pt x="578" y="192"/>
                  </a:lnTo>
                  <a:lnTo>
                    <a:pt x="592" y="182"/>
                  </a:lnTo>
                  <a:lnTo>
                    <a:pt x="606" y="182"/>
                  </a:lnTo>
                  <a:lnTo>
                    <a:pt x="620" y="192"/>
                  </a:lnTo>
                  <a:lnTo>
                    <a:pt x="634" y="200"/>
                  </a:lnTo>
                  <a:lnTo>
                    <a:pt x="648" y="192"/>
                  </a:lnTo>
                  <a:lnTo>
                    <a:pt x="660" y="182"/>
                  </a:lnTo>
                  <a:lnTo>
                    <a:pt x="674" y="192"/>
                  </a:lnTo>
                  <a:lnTo>
                    <a:pt x="688" y="192"/>
                  </a:lnTo>
                  <a:lnTo>
                    <a:pt x="700" y="192"/>
                  </a:lnTo>
                  <a:lnTo>
                    <a:pt x="708" y="210"/>
                  </a:lnTo>
                  <a:lnTo>
                    <a:pt x="694" y="226"/>
                  </a:lnTo>
                  <a:lnTo>
                    <a:pt x="688" y="244"/>
                  </a:lnTo>
                  <a:lnTo>
                    <a:pt x="680" y="260"/>
                  </a:lnTo>
                  <a:lnTo>
                    <a:pt x="680" y="278"/>
                  </a:lnTo>
                  <a:lnTo>
                    <a:pt x="694" y="278"/>
                  </a:lnTo>
                  <a:lnTo>
                    <a:pt x="708" y="268"/>
                  </a:lnTo>
                  <a:lnTo>
                    <a:pt x="712" y="252"/>
                  </a:lnTo>
                  <a:lnTo>
                    <a:pt x="720" y="234"/>
                  </a:lnTo>
                  <a:lnTo>
                    <a:pt x="734" y="226"/>
                  </a:lnTo>
                  <a:lnTo>
                    <a:pt x="748" y="216"/>
                  </a:lnTo>
                  <a:lnTo>
                    <a:pt x="768" y="216"/>
                  </a:lnTo>
                  <a:lnTo>
                    <a:pt x="782" y="226"/>
                  </a:lnTo>
                  <a:lnTo>
                    <a:pt x="796" y="234"/>
                  </a:lnTo>
                  <a:lnTo>
                    <a:pt x="810" y="234"/>
                  </a:lnTo>
                  <a:lnTo>
                    <a:pt x="822" y="244"/>
                  </a:lnTo>
                  <a:lnTo>
                    <a:pt x="836" y="244"/>
                  </a:lnTo>
                  <a:lnTo>
                    <a:pt x="850" y="244"/>
                  </a:lnTo>
                  <a:lnTo>
                    <a:pt x="862" y="252"/>
                  </a:lnTo>
                  <a:lnTo>
                    <a:pt x="862" y="250"/>
                  </a:lnTo>
                  <a:lnTo>
                    <a:pt x="862" y="260"/>
                  </a:lnTo>
                  <a:lnTo>
                    <a:pt x="856" y="278"/>
                  </a:lnTo>
                  <a:lnTo>
                    <a:pt x="856" y="304"/>
                  </a:lnTo>
                  <a:lnTo>
                    <a:pt x="850" y="322"/>
                  </a:lnTo>
                  <a:lnTo>
                    <a:pt x="842" y="338"/>
                  </a:lnTo>
                  <a:lnTo>
                    <a:pt x="828" y="346"/>
                  </a:lnTo>
                  <a:lnTo>
                    <a:pt x="822" y="366"/>
                  </a:lnTo>
                  <a:lnTo>
                    <a:pt x="822" y="382"/>
                  </a:lnTo>
                  <a:lnTo>
                    <a:pt x="814" y="400"/>
                  </a:lnTo>
                  <a:lnTo>
                    <a:pt x="810" y="416"/>
                  </a:lnTo>
                  <a:lnTo>
                    <a:pt x="796" y="434"/>
                  </a:lnTo>
                  <a:lnTo>
                    <a:pt x="782" y="442"/>
                  </a:lnTo>
                  <a:lnTo>
                    <a:pt x="774" y="458"/>
                  </a:lnTo>
                  <a:lnTo>
                    <a:pt x="768" y="476"/>
                  </a:lnTo>
                  <a:lnTo>
                    <a:pt x="756" y="476"/>
                  </a:lnTo>
                  <a:lnTo>
                    <a:pt x="740" y="484"/>
                  </a:lnTo>
                  <a:lnTo>
                    <a:pt x="726" y="484"/>
                  </a:lnTo>
                  <a:lnTo>
                    <a:pt x="712" y="502"/>
                  </a:lnTo>
                  <a:lnTo>
                    <a:pt x="708" y="512"/>
                  </a:lnTo>
                  <a:lnTo>
                    <a:pt x="688" y="512"/>
                  </a:lnTo>
                  <a:lnTo>
                    <a:pt x="688" y="530"/>
                  </a:lnTo>
                  <a:lnTo>
                    <a:pt x="700" y="538"/>
                  </a:lnTo>
                  <a:lnTo>
                    <a:pt x="712" y="538"/>
                  </a:lnTo>
                  <a:lnTo>
                    <a:pt x="726" y="546"/>
                  </a:lnTo>
                  <a:lnTo>
                    <a:pt x="712" y="562"/>
                  </a:lnTo>
                  <a:lnTo>
                    <a:pt x="712" y="582"/>
                  </a:lnTo>
                  <a:lnTo>
                    <a:pt x="700" y="590"/>
                  </a:lnTo>
                  <a:lnTo>
                    <a:pt x="694" y="606"/>
                  </a:lnTo>
                  <a:lnTo>
                    <a:pt x="680" y="622"/>
                  </a:lnTo>
                  <a:lnTo>
                    <a:pt x="666" y="622"/>
                  </a:lnTo>
                  <a:lnTo>
                    <a:pt x="654" y="622"/>
                  </a:lnTo>
                  <a:lnTo>
                    <a:pt x="648" y="640"/>
                  </a:lnTo>
                  <a:lnTo>
                    <a:pt x="654" y="660"/>
                  </a:lnTo>
                  <a:lnTo>
                    <a:pt x="648" y="676"/>
                  </a:lnTo>
                  <a:lnTo>
                    <a:pt x="648" y="692"/>
                  </a:lnTo>
                  <a:lnTo>
                    <a:pt x="648" y="710"/>
                  </a:lnTo>
                  <a:lnTo>
                    <a:pt x="640" y="728"/>
                  </a:lnTo>
                  <a:lnTo>
                    <a:pt x="634" y="744"/>
                  </a:lnTo>
                  <a:lnTo>
                    <a:pt x="626" y="760"/>
                  </a:lnTo>
                  <a:lnTo>
                    <a:pt x="612" y="772"/>
                  </a:lnTo>
                  <a:lnTo>
                    <a:pt x="598" y="788"/>
                  </a:lnTo>
                  <a:lnTo>
                    <a:pt x="592" y="804"/>
                  </a:lnTo>
                  <a:lnTo>
                    <a:pt x="586" y="822"/>
                  </a:lnTo>
                  <a:lnTo>
                    <a:pt x="574" y="822"/>
                  </a:lnTo>
                  <a:lnTo>
                    <a:pt x="552" y="822"/>
                  </a:lnTo>
                  <a:lnTo>
                    <a:pt x="534" y="832"/>
                  </a:lnTo>
                  <a:lnTo>
                    <a:pt x="510" y="832"/>
                  </a:lnTo>
                  <a:lnTo>
                    <a:pt x="492" y="832"/>
                  </a:lnTo>
                  <a:lnTo>
                    <a:pt x="472" y="832"/>
                  </a:lnTo>
                  <a:lnTo>
                    <a:pt x="452" y="822"/>
                  </a:lnTo>
                  <a:lnTo>
                    <a:pt x="432" y="822"/>
                  </a:lnTo>
                  <a:lnTo>
                    <a:pt x="404" y="822"/>
                  </a:lnTo>
                  <a:lnTo>
                    <a:pt x="384" y="822"/>
                  </a:lnTo>
                  <a:lnTo>
                    <a:pt x="362" y="822"/>
                  </a:lnTo>
                  <a:lnTo>
                    <a:pt x="350" y="822"/>
                  </a:lnTo>
                  <a:lnTo>
                    <a:pt x="330" y="822"/>
                  </a:lnTo>
                  <a:lnTo>
                    <a:pt x="308" y="822"/>
                  </a:lnTo>
                  <a:lnTo>
                    <a:pt x="282" y="822"/>
                  </a:lnTo>
                  <a:lnTo>
                    <a:pt x="264" y="822"/>
                  </a:lnTo>
                  <a:lnTo>
                    <a:pt x="242" y="822"/>
                  </a:lnTo>
                  <a:lnTo>
                    <a:pt x="222" y="822"/>
                  </a:lnTo>
                  <a:lnTo>
                    <a:pt x="202" y="814"/>
                  </a:lnTo>
                  <a:lnTo>
                    <a:pt x="188" y="814"/>
                  </a:lnTo>
                  <a:lnTo>
                    <a:pt x="174" y="822"/>
                  </a:lnTo>
                  <a:lnTo>
                    <a:pt x="162" y="814"/>
                  </a:lnTo>
                  <a:lnTo>
                    <a:pt x="154" y="798"/>
                  </a:lnTo>
                  <a:lnTo>
                    <a:pt x="140" y="798"/>
                  </a:lnTo>
                  <a:lnTo>
                    <a:pt x="136" y="780"/>
                  </a:lnTo>
                  <a:lnTo>
                    <a:pt x="122" y="760"/>
                  </a:lnTo>
                  <a:lnTo>
                    <a:pt x="106" y="760"/>
                  </a:lnTo>
                  <a:lnTo>
                    <a:pt x="100" y="744"/>
                  </a:lnTo>
                  <a:lnTo>
                    <a:pt x="100" y="728"/>
                  </a:lnTo>
                  <a:lnTo>
                    <a:pt x="94" y="710"/>
                  </a:lnTo>
                  <a:lnTo>
                    <a:pt x="88" y="692"/>
                  </a:lnTo>
                  <a:lnTo>
                    <a:pt x="80" y="684"/>
                  </a:lnTo>
                  <a:lnTo>
                    <a:pt x="80" y="676"/>
                  </a:lnTo>
                  <a:lnTo>
                    <a:pt x="80" y="668"/>
                  </a:lnTo>
                  <a:lnTo>
                    <a:pt x="74" y="650"/>
                  </a:lnTo>
                  <a:lnTo>
                    <a:pt x="60" y="632"/>
                  </a:lnTo>
                  <a:lnTo>
                    <a:pt x="60" y="616"/>
                  </a:lnTo>
                  <a:lnTo>
                    <a:pt x="68" y="598"/>
                  </a:lnTo>
                  <a:lnTo>
                    <a:pt x="74" y="582"/>
                  </a:lnTo>
                  <a:lnTo>
                    <a:pt x="88" y="546"/>
                  </a:lnTo>
                  <a:lnTo>
                    <a:pt x="94" y="520"/>
                  </a:lnTo>
                  <a:lnTo>
                    <a:pt x="106" y="496"/>
                  </a:lnTo>
                  <a:lnTo>
                    <a:pt x="114" y="476"/>
                  </a:lnTo>
                  <a:lnTo>
                    <a:pt x="126" y="452"/>
                  </a:lnTo>
                  <a:lnTo>
                    <a:pt x="140" y="424"/>
                  </a:lnTo>
                  <a:lnTo>
                    <a:pt x="154" y="390"/>
                  </a:lnTo>
                  <a:lnTo>
                    <a:pt x="162" y="374"/>
                  </a:lnTo>
                  <a:lnTo>
                    <a:pt x="168" y="346"/>
                  </a:lnTo>
                  <a:lnTo>
                    <a:pt x="180" y="322"/>
                  </a:lnTo>
                  <a:lnTo>
                    <a:pt x="180" y="304"/>
                  </a:lnTo>
                  <a:lnTo>
                    <a:pt x="162" y="312"/>
                  </a:lnTo>
                  <a:lnTo>
                    <a:pt x="140" y="312"/>
                  </a:lnTo>
                  <a:lnTo>
                    <a:pt x="126" y="304"/>
                  </a:lnTo>
                  <a:lnTo>
                    <a:pt x="122" y="288"/>
                  </a:lnTo>
                  <a:lnTo>
                    <a:pt x="114" y="278"/>
                  </a:lnTo>
                  <a:lnTo>
                    <a:pt x="100" y="278"/>
                  </a:lnTo>
                  <a:lnTo>
                    <a:pt x="88" y="278"/>
                  </a:lnTo>
                  <a:lnTo>
                    <a:pt x="74" y="278"/>
                  </a:lnTo>
                  <a:lnTo>
                    <a:pt x="52" y="268"/>
                  </a:lnTo>
                  <a:lnTo>
                    <a:pt x="38" y="260"/>
                  </a:lnTo>
                  <a:lnTo>
                    <a:pt x="38" y="244"/>
                  </a:lnTo>
                  <a:lnTo>
                    <a:pt x="26" y="226"/>
                  </a:lnTo>
                  <a:lnTo>
                    <a:pt x="20" y="210"/>
                  </a:lnTo>
                  <a:lnTo>
                    <a:pt x="14" y="192"/>
                  </a:lnTo>
                  <a:lnTo>
                    <a:pt x="6" y="174"/>
                  </a:lnTo>
                  <a:lnTo>
                    <a:pt x="6" y="156"/>
                  </a:lnTo>
                  <a:lnTo>
                    <a:pt x="8" y="156"/>
                  </a:lnTo>
                  <a:lnTo>
                    <a:pt x="14" y="148"/>
                  </a:lnTo>
                  <a:lnTo>
                    <a:pt x="8" y="130"/>
                  </a:lnTo>
                  <a:lnTo>
                    <a:pt x="14" y="122"/>
                  </a:lnTo>
                  <a:lnTo>
                    <a:pt x="8" y="104"/>
                  </a:lnTo>
                  <a:lnTo>
                    <a:pt x="0" y="94"/>
                  </a:lnTo>
                  <a:lnTo>
                    <a:pt x="8" y="94"/>
                  </a:lnTo>
                  <a:lnTo>
                    <a:pt x="20" y="94"/>
                  </a:lnTo>
                  <a:lnTo>
                    <a:pt x="34" y="94"/>
                  </a:lnTo>
                  <a:lnTo>
                    <a:pt x="48" y="88"/>
                  </a:lnTo>
                  <a:lnTo>
                    <a:pt x="60" y="70"/>
                  </a:lnTo>
                  <a:lnTo>
                    <a:pt x="76" y="60"/>
                  </a:lnTo>
                  <a:lnTo>
                    <a:pt x="88" y="60"/>
                  </a:lnTo>
                  <a:lnTo>
                    <a:pt x="100" y="60"/>
                  </a:lnTo>
                  <a:lnTo>
                    <a:pt x="114" y="42"/>
                  </a:lnTo>
                  <a:lnTo>
                    <a:pt x="126" y="42"/>
                  </a:lnTo>
                  <a:lnTo>
                    <a:pt x="142" y="42"/>
                  </a:lnTo>
                  <a:lnTo>
                    <a:pt x="154" y="50"/>
                  </a:lnTo>
                  <a:lnTo>
                    <a:pt x="170" y="50"/>
                  </a:lnTo>
                  <a:lnTo>
                    <a:pt x="182" y="50"/>
                  </a:lnTo>
                  <a:lnTo>
                    <a:pt x="198" y="50"/>
                  </a:lnTo>
                  <a:lnTo>
                    <a:pt x="210" y="42"/>
                  </a:lnTo>
                  <a:lnTo>
                    <a:pt x="202" y="28"/>
                  </a:lnTo>
                  <a:lnTo>
                    <a:pt x="202" y="10"/>
                  </a:lnTo>
                  <a:lnTo>
                    <a:pt x="214" y="10"/>
                  </a:lnTo>
                  <a:lnTo>
                    <a:pt x="230" y="10"/>
                  </a:lnTo>
                  <a:lnTo>
                    <a:pt x="242" y="10"/>
                  </a:lnTo>
                  <a:lnTo>
                    <a:pt x="256" y="0"/>
                  </a:lnTo>
                  <a:lnTo>
                    <a:pt x="270" y="10"/>
                  </a:lnTo>
                  <a:lnTo>
                    <a:pt x="282" y="16"/>
                  </a:lnTo>
                  <a:lnTo>
                    <a:pt x="278" y="16"/>
                  </a:lnTo>
                  <a:lnTo>
                    <a:pt x="296" y="36"/>
                  </a:lnTo>
                  <a:lnTo>
                    <a:pt x="296" y="54"/>
                  </a:lnTo>
                  <a:lnTo>
                    <a:pt x="308" y="54"/>
                  </a:lnTo>
                  <a:lnTo>
                    <a:pt x="324" y="62"/>
                  </a:lnTo>
                  <a:lnTo>
                    <a:pt x="336" y="72"/>
                  </a:lnTo>
                  <a:lnTo>
                    <a:pt x="348" y="72"/>
                  </a:lnTo>
                  <a:lnTo>
                    <a:pt x="356" y="88"/>
                  </a:lnTo>
                  <a:lnTo>
                    <a:pt x="370" y="88"/>
                  </a:lnTo>
                  <a:lnTo>
                    <a:pt x="376" y="106"/>
                  </a:lnTo>
                  <a:lnTo>
                    <a:pt x="390" y="124"/>
                  </a:lnTo>
                  <a:lnTo>
                    <a:pt x="404" y="132"/>
                  </a:lnTo>
                  <a:lnTo>
                    <a:pt x="404" y="148"/>
                  </a:lnTo>
                  <a:lnTo>
                    <a:pt x="404" y="166"/>
                  </a:lnTo>
                  <a:lnTo>
                    <a:pt x="416" y="182"/>
                  </a:lnTo>
                  <a:lnTo>
                    <a:pt x="430" y="192"/>
                  </a:lnTo>
                  <a:lnTo>
                    <a:pt x="436" y="210"/>
                  </a:lnTo>
                  <a:lnTo>
                    <a:pt x="442" y="226"/>
                  </a:lnTo>
                  <a:lnTo>
                    <a:pt x="458" y="244"/>
                  </a:lnTo>
                  <a:lnTo>
                    <a:pt x="470" y="244"/>
                  </a:lnTo>
                  <a:lnTo>
                    <a:pt x="484" y="234"/>
                  </a:lnTo>
                  <a:lnTo>
                    <a:pt x="502" y="208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92"/>
            <p:cNvSpPr>
              <a:spLocks/>
            </p:cNvSpPr>
            <p:nvPr/>
          </p:nvSpPr>
          <p:spPr bwMode="auto">
            <a:xfrm>
              <a:off x="2773470" y="2722222"/>
              <a:ext cx="460405" cy="846068"/>
            </a:xfrm>
            <a:custGeom>
              <a:avLst/>
              <a:gdLst>
                <a:gd name="T0" fmla="*/ 8 w 308"/>
                <a:gd name="T1" fmla="*/ 512 h 566"/>
                <a:gd name="T2" fmla="*/ 92 w 308"/>
                <a:gd name="T3" fmla="*/ 528 h 566"/>
                <a:gd name="T4" fmla="*/ 126 w 308"/>
                <a:gd name="T5" fmla="*/ 554 h 566"/>
                <a:gd name="T6" fmla="*/ 202 w 308"/>
                <a:gd name="T7" fmla="*/ 546 h 566"/>
                <a:gd name="T8" fmla="*/ 284 w 308"/>
                <a:gd name="T9" fmla="*/ 566 h 566"/>
                <a:gd name="T10" fmla="*/ 284 w 308"/>
                <a:gd name="T11" fmla="*/ 562 h 566"/>
                <a:gd name="T12" fmla="*/ 300 w 308"/>
                <a:gd name="T13" fmla="*/ 536 h 566"/>
                <a:gd name="T14" fmla="*/ 292 w 308"/>
                <a:gd name="T15" fmla="*/ 500 h 566"/>
                <a:gd name="T16" fmla="*/ 292 w 308"/>
                <a:gd name="T17" fmla="*/ 474 h 566"/>
                <a:gd name="T18" fmla="*/ 300 w 308"/>
                <a:gd name="T19" fmla="*/ 448 h 566"/>
                <a:gd name="T20" fmla="*/ 292 w 308"/>
                <a:gd name="T21" fmla="*/ 432 h 566"/>
                <a:gd name="T22" fmla="*/ 278 w 308"/>
                <a:gd name="T23" fmla="*/ 414 h 566"/>
                <a:gd name="T24" fmla="*/ 292 w 308"/>
                <a:gd name="T25" fmla="*/ 380 h 566"/>
                <a:gd name="T26" fmla="*/ 308 w 308"/>
                <a:gd name="T27" fmla="*/ 362 h 566"/>
                <a:gd name="T28" fmla="*/ 290 w 308"/>
                <a:gd name="T29" fmla="*/ 362 h 566"/>
                <a:gd name="T30" fmla="*/ 270 w 308"/>
                <a:gd name="T31" fmla="*/ 336 h 566"/>
                <a:gd name="T32" fmla="*/ 264 w 308"/>
                <a:gd name="T33" fmla="*/ 300 h 566"/>
                <a:gd name="T34" fmla="*/ 244 w 308"/>
                <a:gd name="T35" fmla="*/ 276 h 566"/>
                <a:gd name="T36" fmla="*/ 252 w 308"/>
                <a:gd name="T37" fmla="*/ 240 h 566"/>
                <a:gd name="T38" fmla="*/ 276 w 308"/>
                <a:gd name="T39" fmla="*/ 214 h 566"/>
                <a:gd name="T40" fmla="*/ 258 w 308"/>
                <a:gd name="T41" fmla="*/ 196 h 566"/>
                <a:gd name="T42" fmla="*/ 230 w 308"/>
                <a:gd name="T43" fmla="*/ 188 h 566"/>
                <a:gd name="T44" fmla="*/ 210 w 308"/>
                <a:gd name="T45" fmla="*/ 162 h 566"/>
                <a:gd name="T46" fmla="*/ 202 w 308"/>
                <a:gd name="T47" fmla="*/ 136 h 566"/>
                <a:gd name="T48" fmla="*/ 216 w 308"/>
                <a:gd name="T49" fmla="*/ 102 h 566"/>
                <a:gd name="T50" fmla="*/ 216 w 308"/>
                <a:gd name="T51" fmla="*/ 68 h 566"/>
                <a:gd name="T52" fmla="*/ 210 w 308"/>
                <a:gd name="T53" fmla="*/ 32 h 566"/>
                <a:gd name="T54" fmla="*/ 182 w 308"/>
                <a:gd name="T55" fmla="*/ 24 h 566"/>
                <a:gd name="T56" fmla="*/ 162 w 308"/>
                <a:gd name="T57" fmla="*/ 8 h 566"/>
                <a:gd name="T58" fmla="*/ 148 w 308"/>
                <a:gd name="T59" fmla="*/ 8 h 566"/>
                <a:gd name="T60" fmla="*/ 136 w 308"/>
                <a:gd name="T61" fmla="*/ 0 h 566"/>
                <a:gd name="T62" fmla="*/ 148 w 308"/>
                <a:gd name="T63" fmla="*/ 26 h 566"/>
                <a:gd name="T64" fmla="*/ 174 w 308"/>
                <a:gd name="T65" fmla="*/ 34 h 566"/>
                <a:gd name="T66" fmla="*/ 160 w 308"/>
                <a:gd name="T67" fmla="*/ 70 h 566"/>
                <a:gd name="T68" fmla="*/ 142 w 308"/>
                <a:gd name="T69" fmla="*/ 94 h 566"/>
                <a:gd name="T70" fmla="*/ 114 w 308"/>
                <a:gd name="T71" fmla="*/ 110 h 566"/>
                <a:gd name="T72" fmla="*/ 96 w 308"/>
                <a:gd name="T73" fmla="*/ 128 h 566"/>
                <a:gd name="T74" fmla="*/ 96 w 308"/>
                <a:gd name="T75" fmla="*/ 164 h 566"/>
                <a:gd name="T76" fmla="*/ 96 w 308"/>
                <a:gd name="T77" fmla="*/ 198 h 566"/>
                <a:gd name="T78" fmla="*/ 82 w 308"/>
                <a:gd name="T79" fmla="*/ 232 h 566"/>
                <a:gd name="T80" fmla="*/ 60 w 308"/>
                <a:gd name="T81" fmla="*/ 260 h 566"/>
                <a:gd name="T82" fmla="*/ 44 w 308"/>
                <a:gd name="T83" fmla="*/ 282 h 566"/>
                <a:gd name="T84" fmla="*/ 20 w 308"/>
                <a:gd name="T85" fmla="*/ 328 h 566"/>
                <a:gd name="T86" fmla="*/ 6 w 308"/>
                <a:gd name="T87" fmla="*/ 362 h 566"/>
                <a:gd name="T88" fmla="*/ 0 w 308"/>
                <a:gd name="T89" fmla="*/ 388 h 566"/>
                <a:gd name="T90" fmla="*/ 6 w 308"/>
                <a:gd name="T91" fmla="*/ 422 h 566"/>
                <a:gd name="T92" fmla="*/ 0 w 308"/>
                <a:gd name="T93" fmla="*/ 458 h 566"/>
                <a:gd name="T94" fmla="*/ 0 w 308"/>
                <a:gd name="T95" fmla="*/ 492 h 566"/>
                <a:gd name="T96" fmla="*/ 6 w 308"/>
                <a:gd name="T97" fmla="*/ 512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8" h="566">
                  <a:moveTo>
                    <a:pt x="6" y="512"/>
                  </a:moveTo>
                  <a:lnTo>
                    <a:pt x="8" y="512"/>
                  </a:lnTo>
                  <a:lnTo>
                    <a:pt x="44" y="512"/>
                  </a:lnTo>
                  <a:lnTo>
                    <a:pt x="92" y="528"/>
                  </a:lnTo>
                  <a:lnTo>
                    <a:pt x="122" y="500"/>
                  </a:lnTo>
                  <a:lnTo>
                    <a:pt x="126" y="554"/>
                  </a:lnTo>
                  <a:lnTo>
                    <a:pt x="158" y="528"/>
                  </a:lnTo>
                  <a:lnTo>
                    <a:pt x="202" y="546"/>
                  </a:lnTo>
                  <a:lnTo>
                    <a:pt x="244" y="542"/>
                  </a:lnTo>
                  <a:lnTo>
                    <a:pt x="284" y="566"/>
                  </a:lnTo>
                  <a:lnTo>
                    <a:pt x="284" y="566"/>
                  </a:lnTo>
                  <a:lnTo>
                    <a:pt x="284" y="562"/>
                  </a:lnTo>
                  <a:lnTo>
                    <a:pt x="300" y="552"/>
                  </a:lnTo>
                  <a:lnTo>
                    <a:pt x="300" y="536"/>
                  </a:lnTo>
                  <a:lnTo>
                    <a:pt x="300" y="518"/>
                  </a:lnTo>
                  <a:lnTo>
                    <a:pt x="292" y="500"/>
                  </a:lnTo>
                  <a:lnTo>
                    <a:pt x="278" y="492"/>
                  </a:lnTo>
                  <a:lnTo>
                    <a:pt x="292" y="474"/>
                  </a:lnTo>
                  <a:lnTo>
                    <a:pt x="284" y="458"/>
                  </a:lnTo>
                  <a:lnTo>
                    <a:pt x="300" y="448"/>
                  </a:lnTo>
                  <a:lnTo>
                    <a:pt x="306" y="432"/>
                  </a:lnTo>
                  <a:lnTo>
                    <a:pt x="292" y="432"/>
                  </a:lnTo>
                  <a:lnTo>
                    <a:pt x="278" y="432"/>
                  </a:lnTo>
                  <a:lnTo>
                    <a:pt x="278" y="414"/>
                  </a:lnTo>
                  <a:lnTo>
                    <a:pt x="284" y="396"/>
                  </a:lnTo>
                  <a:lnTo>
                    <a:pt x="292" y="380"/>
                  </a:lnTo>
                  <a:lnTo>
                    <a:pt x="306" y="370"/>
                  </a:lnTo>
                  <a:lnTo>
                    <a:pt x="308" y="362"/>
                  </a:lnTo>
                  <a:lnTo>
                    <a:pt x="304" y="362"/>
                  </a:lnTo>
                  <a:lnTo>
                    <a:pt x="290" y="362"/>
                  </a:lnTo>
                  <a:lnTo>
                    <a:pt x="284" y="346"/>
                  </a:lnTo>
                  <a:lnTo>
                    <a:pt x="270" y="336"/>
                  </a:lnTo>
                  <a:lnTo>
                    <a:pt x="270" y="318"/>
                  </a:lnTo>
                  <a:lnTo>
                    <a:pt x="264" y="300"/>
                  </a:lnTo>
                  <a:lnTo>
                    <a:pt x="252" y="292"/>
                  </a:lnTo>
                  <a:lnTo>
                    <a:pt x="244" y="276"/>
                  </a:lnTo>
                  <a:lnTo>
                    <a:pt x="252" y="256"/>
                  </a:lnTo>
                  <a:lnTo>
                    <a:pt x="252" y="240"/>
                  </a:lnTo>
                  <a:lnTo>
                    <a:pt x="264" y="232"/>
                  </a:lnTo>
                  <a:lnTo>
                    <a:pt x="276" y="214"/>
                  </a:lnTo>
                  <a:lnTo>
                    <a:pt x="270" y="196"/>
                  </a:lnTo>
                  <a:lnTo>
                    <a:pt x="258" y="196"/>
                  </a:lnTo>
                  <a:lnTo>
                    <a:pt x="244" y="196"/>
                  </a:lnTo>
                  <a:lnTo>
                    <a:pt x="230" y="188"/>
                  </a:lnTo>
                  <a:lnTo>
                    <a:pt x="224" y="172"/>
                  </a:lnTo>
                  <a:lnTo>
                    <a:pt x="210" y="162"/>
                  </a:lnTo>
                  <a:lnTo>
                    <a:pt x="196" y="154"/>
                  </a:lnTo>
                  <a:lnTo>
                    <a:pt x="202" y="136"/>
                  </a:lnTo>
                  <a:lnTo>
                    <a:pt x="210" y="118"/>
                  </a:lnTo>
                  <a:lnTo>
                    <a:pt x="216" y="102"/>
                  </a:lnTo>
                  <a:lnTo>
                    <a:pt x="216" y="86"/>
                  </a:lnTo>
                  <a:lnTo>
                    <a:pt x="216" y="68"/>
                  </a:lnTo>
                  <a:lnTo>
                    <a:pt x="216" y="50"/>
                  </a:lnTo>
                  <a:lnTo>
                    <a:pt x="210" y="32"/>
                  </a:lnTo>
                  <a:lnTo>
                    <a:pt x="196" y="24"/>
                  </a:lnTo>
                  <a:lnTo>
                    <a:pt x="182" y="24"/>
                  </a:lnTo>
                  <a:lnTo>
                    <a:pt x="176" y="8"/>
                  </a:lnTo>
                  <a:lnTo>
                    <a:pt x="162" y="8"/>
                  </a:lnTo>
                  <a:lnTo>
                    <a:pt x="154" y="8"/>
                  </a:lnTo>
                  <a:lnTo>
                    <a:pt x="148" y="8"/>
                  </a:lnTo>
                  <a:lnTo>
                    <a:pt x="154" y="0"/>
                  </a:lnTo>
                  <a:lnTo>
                    <a:pt x="136" y="0"/>
                  </a:lnTo>
                  <a:lnTo>
                    <a:pt x="136" y="18"/>
                  </a:lnTo>
                  <a:lnTo>
                    <a:pt x="148" y="26"/>
                  </a:lnTo>
                  <a:lnTo>
                    <a:pt x="160" y="26"/>
                  </a:lnTo>
                  <a:lnTo>
                    <a:pt x="174" y="34"/>
                  </a:lnTo>
                  <a:lnTo>
                    <a:pt x="160" y="50"/>
                  </a:lnTo>
                  <a:lnTo>
                    <a:pt x="160" y="70"/>
                  </a:lnTo>
                  <a:lnTo>
                    <a:pt x="148" y="78"/>
                  </a:lnTo>
                  <a:lnTo>
                    <a:pt x="142" y="94"/>
                  </a:lnTo>
                  <a:lnTo>
                    <a:pt x="128" y="110"/>
                  </a:lnTo>
                  <a:lnTo>
                    <a:pt x="114" y="110"/>
                  </a:lnTo>
                  <a:lnTo>
                    <a:pt x="102" y="110"/>
                  </a:lnTo>
                  <a:lnTo>
                    <a:pt x="96" y="128"/>
                  </a:lnTo>
                  <a:lnTo>
                    <a:pt x="102" y="148"/>
                  </a:lnTo>
                  <a:lnTo>
                    <a:pt x="96" y="164"/>
                  </a:lnTo>
                  <a:lnTo>
                    <a:pt x="96" y="180"/>
                  </a:lnTo>
                  <a:lnTo>
                    <a:pt x="96" y="198"/>
                  </a:lnTo>
                  <a:lnTo>
                    <a:pt x="88" y="216"/>
                  </a:lnTo>
                  <a:lnTo>
                    <a:pt x="82" y="232"/>
                  </a:lnTo>
                  <a:lnTo>
                    <a:pt x="74" y="248"/>
                  </a:lnTo>
                  <a:lnTo>
                    <a:pt x="60" y="260"/>
                  </a:lnTo>
                  <a:lnTo>
                    <a:pt x="46" y="276"/>
                  </a:lnTo>
                  <a:lnTo>
                    <a:pt x="44" y="282"/>
                  </a:lnTo>
                  <a:lnTo>
                    <a:pt x="36" y="310"/>
                  </a:lnTo>
                  <a:lnTo>
                    <a:pt x="20" y="328"/>
                  </a:lnTo>
                  <a:lnTo>
                    <a:pt x="14" y="344"/>
                  </a:lnTo>
                  <a:lnTo>
                    <a:pt x="6" y="362"/>
                  </a:lnTo>
                  <a:lnTo>
                    <a:pt x="0" y="370"/>
                  </a:lnTo>
                  <a:lnTo>
                    <a:pt x="0" y="388"/>
                  </a:lnTo>
                  <a:lnTo>
                    <a:pt x="0" y="406"/>
                  </a:lnTo>
                  <a:lnTo>
                    <a:pt x="6" y="422"/>
                  </a:lnTo>
                  <a:lnTo>
                    <a:pt x="0" y="442"/>
                  </a:lnTo>
                  <a:lnTo>
                    <a:pt x="0" y="458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6" y="510"/>
                  </a:lnTo>
                  <a:lnTo>
                    <a:pt x="6" y="512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1043608" y="3537012"/>
            <a:ext cx="1236483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pt-BR" sz="800" dirty="0" smtClean="0"/>
              <a:t>CO Campo Grande</a:t>
            </a:r>
          </a:p>
          <a:p>
            <a:pPr marL="171450" indent="-171450" algn="l">
              <a:buFont typeface="Wingdings" panose="05000000000000000000" pitchFamily="2" charset="2"/>
              <a:buChar char="ü"/>
            </a:pPr>
            <a:r>
              <a:rPr lang="pt-BR" sz="800" dirty="0" smtClean="0"/>
              <a:t>SIGO</a:t>
            </a:r>
          </a:p>
          <a:p>
            <a:pPr marL="171450" indent="-171450" algn="l">
              <a:buFont typeface="Wingdings" panose="05000000000000000000" pitchFamily="2" charset="2"/>
              <a:buChar char="ü"/>
            </a:pPr>
            <a:r>
              <a:rPr lang="pt-BR" sz="800" dirty="0" smtClean="0"/>
              <a:t>Front </a:t>
            </a:r>
            <a:r>
              <a:rPr lang="pt-BR" sz="800" dirty="0" err="1" smtClean="0"/>
              <a:t>End</a:t>
            </a:r>
            <a:r>
              <a:rPr lang="pt-BR" sz="800" dirty="0" smtClean="0"/>
              <a:t> Triagem Oi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3102905" y="3741243"/>
            <a:ext cx="962370" cy="565146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pt-BR" sz="800" dirty="0" smtClean="0"/>
              <a:t>CO Rio de Janeiro</a:t>
            </a:r>
          </a:p>
          <a:p>
            <a:pPr marL="171450" indent="-171450" algn="l">
              <a:buFont typeface="Wingdings" panose="05000000000000000000" pitchFamily="2" charset="2"/>
              <a:buChar char="ü"/>
            </a:pPr>
            <a:r>
              <a:rPr lang="pt-BR" sz="800" dirty="0" smtClean="0"/>
              <a:t>Robô ACN</a:t>
            </a:r>
          </a:p>
          <a:p>
            <a:pPr marL="171450" indent="-171450" algn="l">
              <a:buFont typeface="Wingdings" panose="05000000000000000000" pitchFamily="2" charset="2"/>
              <a:buChar char="ü"/>
            </a:pPr>
            <a:r>
              <a:rPr lang="pt-BR" sz="800" dirty="0" smtClean="0"/>
              <a:t>Front </a:t>
            </a:r>
            <a:r>
              <a:rPr lang="pt-BR" sz="800" dirty="0" err="1" smtClean="0"/>
              <a:t>End</a:t>
            </a:r>
            <a:r>
              <a:rPr lang="pt-BR" sz="800" dirty="0" smtClean="0"/>
              <a:t> </a:t>
            </a:r>
            <a:r>
              <a:rPr lang="pt-BR" sz="800" dirty="0" err="1" smtClean="0"/>
              <a:t>BTcc</a:t>
            </a:r>
            <a:endParaRPr lang="pt-BR" sz="800" dirty="0" smtClean="0"/>
          </a:p>
          <a:p>
            <a:pPr marL="171450" indent="-171450" algn="l">
              <a:buFont typeface="Wingdings" panose="05000000000000000000" pitchFamily="2" charset="2"/>
              <a:buChar char="ü"/>
            </a:pPr>
            <a:r>
              <a:rPr lang="pt-BR" sz="800" dirty="0" smtClean="0"/>
              <a:t>UNIFIC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3659578" y="2575417"/>
            <a:ext cx="737950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pt-BR" sz="800" dirty="0" smtClean="0"/>
              <a:t>CO Recife</a:t>
            </a:r>
          </a:p>
          <a:p>
            <a:pPr marL="171450" indent="-171450" algn="l">
              <a:buFont typeface="Wingdings" panose="05000000000000000000" pitchFamily="2" charset="2"/>
              <a:buChar char="ü"/>
            </a:pPr>
            <a:r>
              <a:rPr lang="pt-BR" sz="800" dirty="0" smtClean="0"/>
              <a:t>Robô ACN</a:t>
            </a:r>
          </a:p>
          <a:p>
            <a:pPr marL="171450" indent="-171450" algn="l">
              <a:buFont typeface="Wingdings" panose="05000000000000000000" pitchFamily="2" charset="2"/>
              <a:buChar char="ü"/>
            </a:pPr>
            <a:r>
              <a:rPr lang="pt-BR" sz="800" dirty="0" smtClean="0"/>
              <a:t>UNIFIC</a:t>
            </a:r>
          </a:p>
        </p:txBody>
      </p:sp>
      <p:grpSp>
        <p:nvGrpSpPr>
          <p:cNvPr id="96" name="Group 95"/>
          <p:cNvGrpSpPr/>
          <p:nvPr/>
        </p:nvGrpSpPr>
        <p:grpSpPr bwMode="auto">
          <a:xfrm>
            <a:off x="4804679" y="1890770"/>
            <a:ext cx="2693367" cy="2678717"/>
            <a:chOff x="483406" y="1702755"/>
            <a:chExt cx="3847667" cy="3826739"/>
          </a:xfrm>
        </p:grpSpPr>
        <p:sp>
          <p:nvSpPr>
            <p:cNvPr id="97" name="Freeform 46"/>
            <p:cNvSpPr>
              <a:spLocks/>
            </p:cNvSpPr>
            <p:nvPr/>
          </p:nvSpPr>
          <p:spPr bwMode="auto">
            <a:xfrm>
              <a:off x="1218857" y="1702755"/>
              <a:ext cx="594938" cy="657721"/>
            </a:xfrm>
            <a:custGeom>
              <a:avLst/>
              <a:gdLst>
                <a:gd name="T0" fmla="*/ 390 w 398"/>
                <a:gd name="T1" fmla="*/ 334 h 440"/>
                <a:gd name="T2" fmla="*/ 364 w 398"/>
                <a:gd name="T3" fmla="*/ 334 h 440"/>
                <a:gd name="T4" fmla="*/ 336 w 398"/>
                <a:gd name="T5" fmla="*/ 334 h 440"/>
                <a:gd name="T6" fmla="*/ 316 w 398"/>
                <a:gd name="T7" fmla="*/ 360 h 440"/>
                <a:gd name="T8" fmla="*/ 296 w 398"/>
                <a:gd name="T9" fmla="*/ 386 h 440"/>
                <a:gd name="T10" fmla="*/ 290 w 398"/>
                <a:gd name="T11" fmla="*/ 412 h 440"/>
                <a:gd name="T12" fmla="*/ 262 w 398"/>
                <a:gd name="T13" fmla="*/ 396 h 440"/>
                <a:gd name="T14" fmla="*/ 234 w 398"/>
                <a:gd name="T15" fmla="*/ 396 h 440"/>
                <a:gd name="T16" fmla="*/ 216 w 398"/>
                <a:gd name="T17" fmla="*/ 422 h 440"/>
                <a:gd name="T18" fmla="*/ 200 w 398"/>
                <a:gd name="T19" fmla="*/ 440 h 440"/>
                <a:gd name="T20" fmla="*/ 174 w 398"/>
                <a:gd name="T21" fmla="*/ 422 h 440"/>
                <a:gd name="T22" fmla="*/ 160 w 398"/>
                <a:gd name="T23" fmla="*/ 386 h 440"/>
                <a:gd name="T24" fmla="*/ 160 w 398"/>
                <a:gd name="T25" fmla="*/ 352 h 440"/>
                <a:gd name="T26" fmla="*/ 160 w 398"/>
                <a:gd name="T27" fmla="*/ 318 h 440"/>
                <a:gd name="T28" fmla="*/ 142 w 398"/>
                <a:gd name="T29" fmla="*/ 292 h 440"/>
                <a:gd name="T30" fmla="*/ 126 w 398"/>
                <a:gd name="T31" fmla="*/ 258 h 440"/>
                <a:gd name="T32" fmla="*/ 114 w 398"/>
                <a:gd name="T33" fmla="*/ 222 h 440"/>
                <a:gd name="T34" fmla="*/ 100 w 398"/>
                <a:gd name="T35" fmla="*/ 204 h 440"/>
                <a:gd name="T36" fmla="*/ 92 w 398"/>
                <a:gd name="T37" fmla="*/ 196 h 440"/>
                <a:gd name="T38" fmla="*/ 50 w 398"/>
                <a:gd name="T39" fmla="*/ 196 h 440"/>
                <a:gd name="T40" fmla="*/ 26 w 398"/>
                <a:gd name="T41" fmla="*/ 180 h 440"/>
                <a:gd name="T42" fmla="*/ 32 w 398"/>
                <a:gd name="T43" fmla="*/ 144 h 440"/>
                <a:gd name="T44" fmla="*/ 32 w 398"/>
                <a:gd name="T45" fmla="*/ 114 h 440"/>
                <a:gd name="T46" fmla="*/ 0 w 398"/>
                <a:gd name="T47" fmla="*/ 94 h 440"/>
                <a:gd name="T48" fmla="*/ 24 w 398"/>
                <a:gd name="T49" fmla="*/ 80 h 440"/>
                <a:gd name="T50" fmla="*/ 52 w 398"/>
                <a:gd name="T51" fmla="*/ 92 h 440"/>
                <a:gd name="T52" fmla="*/ 80 w 398"/>
                <a:gd name="T53" fmla="*/ 102 h 440"/>
                <a:gd name="T54" fmla="*/ 106 w 398"/>
                <a:gd name="T55" fmla="*/ 102 h 440"/>
                <a:gd name="T56" fmla="*/ 134 w 398"/>
                <a:gd name="T57" fmla="*/ 110 h 440"/>
                <a:gd name="T58" fmla="*/ 160 w 398"/>
                <a:gd name="T59" fmla="*/ 86 h 440"/>
                <a:gd name="T60" fmla="*/ 180 w 398"/>
                <a:gd name="T61" fmla="*/ 86 h 440"/>
                <a:gd name="T62" fmla="*/ 208 w 398"/>
                <a:gd name="T63" fmla="*/ 76 h 440"/>
                <a:gd name="T64" fmla="*/ 234 w 398"/>
                <a:gd name="T65" fmla="*/ 60 h 440"/>
                <a:gd name="T66" fmla="*/ 262 w 398"/>
                <a:gd name="T67" fmla="*/ 34 h 440"/>
                <a:gd name="T68" fmla="*/ 282 w 398"/>
                <a:gd name="T69" fmla="*/ 4 h 440"/>
                <a:gd name="T70" fmla="*/ 308 w 398"/>
                <a:gd name="T71" fmla="*/ 4 h 440"/>
                <a:gd name="T72" fmla="*/ 314 w 398"/>
                <a:gd name="T73" fmla="*/ 40 h 440"/>
                <a:gd name="T74" fmla="*/ 342 w 398"/>
                <a:gd name="T75" fmla="*/ 60 h 440"/>
                <a:gd name="T76" fmla="*/ 336 w 398"/>
                <a:gd name="T77" fmla="*/ 92 h 440"/>
                <a:gd name="T78" fmla="*/ 322 w 398"/>
                <a:gd name="T79" fmla="*/ 118 h 440"/>
                <a:gd name="T80" fmla="*/ 322 w 398"/>
                <a:gd name="T81" fmla="*/ 154 h 440"/>
                <a:gd name="T82" fmla="*/ 314 w 398"/>
                <a:gd name="T83" fmla="*/ 188 h 440"/>
                <a:gd name="T84" fmla="*/ 342 w 398"/>
                <a:gd name="T85" fmla="*/ 204 h 440"/>
                <a:gd name="T86" fmla="*/ 342 w 398"/>
                <a:gd name="T87" fmla="*/ 240 h 440"/>
                <a:gd name="T88" fmla="*/ 368 w 398"/>
                <a:gd name="T89" fmla="*/ 258 h 440"/>
                <a:gd name="T90" fmla="*/ 390 w 398"/>
                <a:gd name="T91" fmla="*/ 276 h 440"/>
                <a:gd name="T92" fmla="*/ 390 w 398"/>
                <a:gd name="T93" fmla="*/ 302 h 440"/>
                <a:gd name="T94" fmla="*/ 398 w 398"/>
                <a:gd name="T95" fmla="*/ 318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8" h="440">
                  <a:moveTo>
                    <a:pt x="398" y="318"/>
                  </a:moveTo>
                  <a:lnTo>
                    <a:pt x="390" y="334"/>
                  </a:lnTo>
                  <a:lnTo>
                    <a:pt x="376" y="334"/>
                  </a:lnTo>
                  <a:lnTo>
                    <a:pt x="364" y="334"/>
                  </a:lnTo>
                  <a:lnTo>
                    <a:pt x="350" y="334"/>
                  </a:lnTo>
                  <a:lnTo>
                    <a:pt x="336" y="334"/>
                  </a:lnTo>
                  <a:lnTo>
                    <a:pt x="322" y="344"/>
                  </a:lnTo>
                  <a:lnTo>
                    <a:pt x="316" y="360"/>
                  </a:lnTo>
                  <a:lnTo>
                    <a:pt x="310" y="378"/>
                  </a:lnTo>
                  <a:lnTo>
                    <a:pt x="296" y="386"/>
                  </a:lnTo>
                  <a:lnTo>
                    <a:pt x="302" y="404"/>
                  </a:lnTo>
                  <a:lnTo>
                    <a:pt x="290" y="412"/>
                  </a:lnTo>
                  <a:lnTo>
                    <a:pt x="276" y="412"/>
                  </a:lnTo>
                  <a:lnTo>
                    <a:pt x="262" y="396"/>
                  </a:lnTo>
                  <a:lnTo>
                    <a:pt x="248" y="396"/>
                  </a:lnTo>
                  <a:lnTo>
                    <a:pt x="234" y="396"/>
                  </a:lnTo>
                  <a:lnTo>
                    <a:pt x="220" y="404"/>
                  </a:lnTo>
                  <a:lnTo>
                    <a:pt x="216" y="422"/>
                  </a:lnTo>
                  <a:lnTo>
                    <a:pt x="208" y="440"/>
                  </a:lnTo>
                  <a:lnTo>
                    <a:pt x="200" y="440"/>
                  </a:lnTo>
                  <a:lnTo>
                    <a:pt x="188" y="428"/>
                  </a:lnTo>
                  <a:lnTo>
                    <a:pt x="174" y="422"/>
                  </a:lnTo>
                  <a:lnTo>
                    <a:pt x="160" y="404"/>
                  </a:lnTo>
                  <a:lnTo>
                    <a:pt x="160" y="386"/>
                  </a:lnTo>
                  <a:lnTo>
                    <a:pt x="166" y="368"/>
                  </a:lnTo>
                  <a:lnTo>
                    <a:pt x="160" y="352"/>
                  </a:lnTo>
                  <a:lnTo>
                    <a:pt x="160" y="334"/>
                  </a:lnTo>
                  <a:lnTo>
                    <a:pt x="160" y="318"/>
                  </a:lnTo>
                  <a:lnTo>
                    <a:pt x="154" y="302"/>
                  </a:lnTo>
                  <a:lnTo>
                    <a:pt x="142" y="292"/>
                  </a:lnTo>
                  <a:lnTo>
                    <a:pt x="126" y="272"/>
                  </a:lnTo>
                  <a:lnTo>
                    <a:pt x="126" y="258"/>
                  </a:lnTo>
                  <a:lnTo>
                    <a:pt x="120" y="240"/>
                  </a:lnTo>
                  <a:lnTo>
                    <a:pt x="114" y="222"/>
                  </a:lnTo>
                  <a:lnTo>
                    <a:pt x="114" y="204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92" y="196"/>
                  </a:lnTo>
                  <a:lnTo>
                    <a:pt x="64" y="198"/>
                  </a:lnTo>
                  <a:lnTo>
                    <a:pt x="50" y="196"/>
                  </a:lnTo>
                  <a:lnTo>
                    <a:pt x="32" y="192"/>
                  </a:lnTo>
                  <a:lnTo>
                    <a:pt x="26" y="180"/>
                  </a:lnTo>
                  <a:lnTo>
                    <a:pt x="26" y="162"/>
                  </a:lnTo>
                  <a:lnTo>
                    <a:pt x="32" y="144"/>
                  </a:lnTo>
                  <a:lnTo>
                    <a:pt x="40" y="126"/>
                  </a:lnTo>
                  <a:lnTo>
                    <a:pt x="32" y="114"/>
                  </a:lnTo>
                  <a:lnTo>
                    <a:pt x="14" y="100"/>
                  </a:lnTo>
                  <a:lnTo>
                    <a:pt x="0" y="94"/>
                  </a:lnTo>
                  <a:lnTo>
                    <a:pt x="0" y="82"/>
                  </a:lnTo>
                  <a:lnTo>
                    <a:pt x="24" y="80"/>
                  </a:lnTo>
                  <a:lnTo>
                    <a:pt x="40" y="86"/>
                  </a:lnTo>
                  <a:lnTo>
                    <a:pt x="52" y="92"/>
                  </a:lnTo>
                  <a:lnTo>
                    <a:pt x="66" y="92"/>
                  </a:lnTo>
                  <a:lnTo>
                    <a:pt x="80" y="102"/>
                  </a:lnTo>
                  <a:lnTo>
                    <a:pt x="92" y="102"/>
                  </a:lnTo>
                  <a:lnTo>
                    <a:pt x="106" y="102"/>
                  </a:lnTo>
                  <a:lnTo>
                    <a:pt x="120" y="110"/>
                  </a:lnTo>
                  <a:lnTo>
                    <a:pt x="134" y="110"/>
                  </a:lnTo>
                  <a:lnTo>
                    <a:pt x="148" y="92"/>
                  </a:lnTo>
                  <a:lnTo>
                    <a:pt x="160" y="86"/>
                  </a:lnTo>
                  <a:lnTo>
                    <a:pt x="166" y="86"/>
                  </a:lnTo>
                  <a:lnTo>
                    <a:pt x="180" y="86"/>
                  </a:lnTo>
                  <a:lnTo>
                    <a:pt x="196" y="76"/>
                  </a:lnTo>
                  <a:lnTo>
                    <a:pt x="208" y="76"/>
                  </a:lnTo>
                  <a:lnTo>
                    <a:pt x="220" y="66"/>
                  </a:lnTo>
                  <a:lnTo>
                    <a:pt x="234" y="60"/>
                  </a:lnTo>
                  <a:lnTo>
                    <a:pt x="248" y="40"/>
                  </a:lnTo>
                  <a:lnTo>
                    <a:pt x="262" y="34"/>
                  </a:lnTo>
                  <a:lnTo>
                    <a:pt x="274" y="24"/>
                  </a:lnTo>
                  <a:lnTo>
                    <a:pt x="282" y="4"/>
                  </a:lnTo>
                  <a:lnTo>
                    <a:pt x="296" y="0"/>
                  </a:lnTo>
                  <a:lnTo>
                    <a:pt x="308" y="4"/>
                  </a:lnTo>
                  <a:lnTo>
                    <a:pt x="308" y="24"/>
                  </a:lnTo>
                  <a:lnTo>
                    <a:pt x="314" y="40"/>
                  </a:lnTo>
                  <a:lnTo>
                    <a:pt x="328" y="40"/>
                  </a:lnTo>
                  <a:lnTo>
                    <a:pt x="342" y="60"/>
                  </a:lnTo>
                  <a:lnTo>
                    <a:pt x="342" y="76"/>
                  </a:lnTo>
                  <a:lnTo>
                    <a:pt x="336" y="92"/>
                  </a:lnTo>
                  <a:lnTo>
                    <a:pt x="336" y="110"/>
                  </a:lnTo>
                  <a:lnTo>
                    <a:pt x="322" y="118"/>
                  </a:lnTo>
                  <a:lnTo>
                    <a:pt x="314" y="136"/>
                  </a:lnTo>
                  <a:lnTo>
                    <a:pt x="322" y="154"/>
                  </a:lnTo>
                  <a:lnTo>
                    <a:pt x="314" y="170"/>
                  </a:lnTo>
                  <a:lnTo>
                    <a:pt x="314" y="188"/>
                  </a:lnTo>
                  <a:lnTo>
                    <a:pt x="328" y="204"/>
                  </a:lnTo>
                  <a:lnTo>
                    <a:pt x="342" y="204"/>
                  </a:lnTo>
                  <a:lnTo>
                    <a:pt x="342" y="222"/>
                  </a:lnTo>
                  <a:lnTo>
                    <a:pt x="342" y="240"/>
                  </a:lnTo>
                  <a:lnTo>
                    <a:pt x="356" y="258"/>
                  </a:lnTo>
                  <a:lnTo>
                    <a:pt x="368" y="258"/>
                  </a:lnTo>
                  <a:lnTo>
                    <a:pt x="384" y="266"/>
                  </a:lnTo>
                  <a:lnTo>
                    <a:pt x="390" y="276"/>
                  </a:lnTo>
                  <a:lnTo>
                    <a:pt x="396" y="292"/>
                  </a:lnTo>
                  <a:lnTo>
                    <a:pt x="390" y="302"/>
                  </a:lnTo>
                  <a:lnTo>
                    <a:pt x="396" y="318"/>
                  </a:lnTo>
                  <a:lnTo>
                    <a:pt x="398" y="318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47"/>
            <p:cNvSpPr>
              <a:spLocks/>
            </p:cNvSpPr>
            <p:nvPr/>
          </p:nvSpPr>
          <p:spPr bwMode="auto">
            <a:xfrm>
              <a:off x="1371329" y="1702755"/>
              <a:ext cx="594938" cy="657721"/>
            </a:xfrm>
            <a:custGeom>
              <a:avLst/>
              <a:gdLst>
                <a:gd name="T0" fmla="*/ 390 w 398"/>
                <a:gd name="T1" fmla="*/ 334 h 440"/>
                <a:gd name="T2" fmla="*/ 364 w 398"/>
                <a:gd name="T3" fmla="*/ 334 h 440"/>
                <a:gd name="T4" fmla="*/ 336 w 398"/>
                <a:gd name="T5" fmla="*/ 334 h 440"/>
                <a:gd name="T6" fmla="*/ 316 w 398"/>
                <a:gd name="T7" fmla="*/ 360 h 440"/>
                <a:gd name="T8" fmla="*/ 296 w 398"/>
                <a:gd name="T9" fmla="*/ 386 h 440"/>
                <a:gd name="T10" fmla="*/ 290 w 398"/>
                <a:gd name="T11" fmla="*/ 412 h 440"/>
                <a:gd name="T12" fmla="*/ 262 w 398"/>
                <a:gd name="T13" fmla="*/ 396 h 440"/>
                <a:gd name="T14" fmla="*/ 234 w 398"/>
                <a:gd name="T15" fmla="*/ 396 h 440"/>
                <a:gd name="T16" fmla="*/ 216 w 398"/>
                <a:gd name="T17" fmla="*/ 422 h 440"/>
                <a:gd name="T18" fmla="*/ 200 w 398"/>
                <a:gd name="T19" fmla="*/ 440 h 440"/>
                <a:gd name="T20" fmla="*/ 174 w 398"/>
                <a:gd name="T21" fmla="*/ 422 h 440"/>
                <a:gd name="T22" fmla="*/ 160 w 398"/>
                <a:gd name="T23" fmla="*/ 386 h 440"/>
                <a:gd name="T24" fmla="*/ 160 w 398"/>
                <a:gd name="T25" fmla="*/ 352 h 440"/>
                <a:gd name="T26" fmla="*/ 160 w 398"/>
                <a:gd name="T27" fmla="*/ 318 h 440"/>
                <a:gd name="T28" fmla="*/ 142 w 398"/>
                <a:gd name="T29" fmla="*/ 292 h 440"/>
                <a:gd name="T30" fmla="*/ 126 w 398"/>
                <a:gd name="T31" fmla="*/ 258 h 440"/>
                <a:gd name="T32" fmla="*/ 114 w 398"/>
                <a:gd name="T33" fmla="*/ 222 h 440"/>
                <a:gd name="T34" fmla="*/ 100 w 398"/>
                <a:gd name="T35" fmla="*/ 204 h 440"/>
                <a:gd name="T36" fmla="*/ 92 w 398"/>
                <a:gd name="T37" fmla="*/ 196 h 440"/>
                <a:gd name="T38" fmla="*/ 50 w 398"/>
                <a:gd name="T39" fmla="*/ 196 h 440"/>
                <a:gd name="T40" fmla="*/ 26 w 398"/>
                <a:gd name="T41" fmla="*/ 180 h 440"/>
                <a:gd name="T42" fmla="*/ 32 w 398"/>
                <a:gd name="T43" fmla="*/ 144 h 440"/>
                <a:gd name="T44" fmla="*/ 32 w 398"/>
                <a:gd name="T45" fmla="*/ 114 h 440"/>
                <a:gd name="T46" fmla="*/ 0 w 398"/>
                <a:gd name="T47" fmla="*/ 94 h 440"/>
                <a:gd name="T48" fmla="*/ 24 w 398"/>
                <a:gd name="T49" fmla="*/ 80 h 440"/>
                <a:gd name="T50" fmla="*/ 52 w 398"/>
                <a:gd name="T51" fmla="*/ 92 h 440"/>
                <a:gd name="T52" fmla="*/ 80 w 398"/>
                <a:gd name="T53" fmla="*/ 102 h 440"/>
                <a:gd name="T54" fmla="*/ 106 w 398"/>
                <a:gd name="T55" fmla="*/ 102 h 440"/>
                <a:gd name="T56" fmla="*/ 134 w 398"/>
                <a:gd name="T57" fmla="*/ 110 h 440"/>
                <a:gd name="T58" fmla="*/ 160 w 398"/>
                <a:gd name="T59" fmla="*/ 86 h 440"/>
                <a:gd name="T60" fmla="*/ 180 w 398"/>
                <a:gd name="T61" fmla="*/ 86 h 440"/>
                <a:gd name="T62" fmla="*/ 208 w 398"/>
                <a:gd name="T63" fmla="*/ 76 h 440"/>
                <a:gd name="T64" fmla="*/ 234 w 398"/>
                <a:gd name="T65" fmla="*/ 60 h 440"/>
                <a:gd name="T66" fmla="*/ 262 w 398"/>
                <a:gd name="T67" fmla="*/ 34 h 440"/>
                <a:gd name="T68" fmla="*/ 282 w 398"/>
                <a:gd name="T69" fmla="*/ 4 h 440"/>
                <a:gd name="T70" fmla="*/ 308 w 398"/>
                <a:gd name="T71" fmla="*/ 4 h 440"/>
                <a:gd name="T72" fmla="*/ 314 w 398"/>
                <a:gd name="T73" fmla="*/ 40 h 440"/>
                <a:gd name="T74" fmla="*/ 342 w 398"/>
                <a:gd name="T75" fmla="*/ 60 h 440"/>
                <a:gd name="T76" fmla="*/ 336 w 398"/>
                <a:gd name="T77" fmla="*/ 92 h 440"/>
                <a:gd name="T78" fmla="*/ 322 w 398"/>
                <a:gd name="T79" fmla="*/ 118 h 440"/>
                <a:gd name="T80" fmla="*/ 322 w 398"/>
                <a:gd name="T81" fmla="*/ 154 h 440"/>
                <a:gd name="T82" fmla="*/ 314 w 398"/>
                <a:gd name="T83" fmla="*/ 188 h 440"/>
                <a:gd name="T84" fmla="*/ 342 w 398"/>
                <a:gd name="T85" fmla="*/ 204 h 440"/>
                <a:gd name="T86" fmla="*/ 342 w 398"/>
                <a:gd name="T87" fmla="*/ 240 h 440"/>
                <a:gd name="T88" fmla="*/ 368 w 398"/>
                <a:gd name="T89" fmla="*/ 258 h 440"/>
                <a:gd name="T90" fmla="*/ 390 w 398"/>
                <a:gd name="T91" fmla="*/ 276 h 440"/>
                <a:gd name="T92" fmla="*/ 390 w 398"/>
                <a:gd name="T93" fmla="*/ 302 h 440"/>
                <a:gd name="T94" fmla="*/ 398 w 398"/>
                <a:gd name="T95" fmla="*/ 318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8" h="440">
                  <a:moveTo>
                    <a:pt x="398" y="318"/>
                  </a:moveTo>
                  <a:lnTo>
                    <a:pt x="390" y="334"/>
                  </a:lnTo>
                  <a:lnTo>
                    <a:pt x="376" y="334"/>
                  </a:lnTo>
                  <a:lnTo>
                    <a:pt x="364" y="334"/>
                  </a:lnTo>
                  <a:lnTo>
                    <a:pt x="350" y="334"/>
                  </a:lnTo>
                  <a:lnTo>
                    <a:pt x="336" y="334"/>
                  </a:lnTo>
                  <a:lnTo>
                    <a:pt x="322" y="344"/>
                  </a:lnTo>
                  <a:lnTo>
                    <a:pt x="316" y="360"/>
                  </a:lnTo>
                  <a:lnTo>
                    <a:pt x="310" y="378"/>
                  </a:lnTo>
                  <a:lnTo>
                    <a:pt x="296" y="386"/>
                  </a:lnTo>
                  <a:lnTo>
                    <a:pt x="302" y="404"/>
                  </a:lnTo>
                  <a:lnTo>
                    <a:pt x="290" y="412"/>
                  </a:lnTo>
                  <a:lnTo>
                    <a:pt x="276" y="412"/>
                  </a:lnTo>
                  <a:lnTo>
                    <a:pt x="262" y="396"/>
                  </a:lnTo>
                  <a:lnTo>
                    <a:pt x="248" y="396"/>
                  </a:lnTo>
                  <a:lnTo>
                    <a:pt x="234" y="396"/>
                  </a:lnTo>
                  <a:lnTo>
                    <a:pt x="220" y="404"/>
                  </a:lnTo>
                  <a:lnTo>
                    <a:pt x="216" y="422"/>
                  </a:lnTo>
                  <a:lnTo>
                    <a:pt x="208" y="440"/>
                  </a:lnTo>
                  <a:lnTo>
                    <a:pt x="200" y="440"/>
                  </a:lnTo>
                  <a:lnTo>
                    <a:pt x="188" y="428"/>
                  </a:lnTo>
                  <a:lnTo>
                    <a:pt x="174" y="422"/>
                  </a:lnTo>
                  <a:lnTo>
                    <a:pt x="160" y="404"/>
                  </a:lnTo>
                  <a:lnTo>
                    <a:pt x="160" y="386"/>
                  </a:lnTo>
                  <a:lnTo>
                    <a:pt x="166" y="368"/>
                  </a:lnTo>
                  <a:lnTo>
                    <a:pt x="160" y="352"/>
                  </a:lnTo>
                  <a:lnTo>
                    <a:pt x="160" y="334"/>
                  </a:lnTo>
                  <a:lnTo>
                    <a:pt x="160" y="318"/>
                  </a:lnTo>
                  <a:lnTo>
                    <a:pt x="154" y="302"/>
                  </a:lnTo>
                  <a:lnTo>
                    <a:pt x="142" y="292"/>
                  </a:lnTo>
                  <a:lnTo>
                    <a:pt x="126" y="272"/>
                  </a:lnTo>
                  <a:lnTo>
                    <a:pt x="126" y="258"/>
                  </a:lnTo>
                  <a:lnTo>
                    <a:pt x="120" y="240"/>
                  </a:lnTo>
                  <a:lnTo>
                    <a:pt x="114" y="222"/>
                  </a:lnTo>
                  <a:lnTo>
                    <a:pt x="114" y="204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92" y="196"/>
                  </a:lnTo>
                  <a:lnTo>
                    <a:pt x="64" y="198"/>
                  </a:lnTo>
                  <a:lnTo>
                    <a:pt x="50" y="196"/>
                  </a:lnTo>
                  <a:lnTo>
                    <a:pt x="32" y="192"/>
                  </a:lnTo>
                  <a:lnTo>
                    <a:pt x="26" y="180"/>
                  </a:lnTo>
                  <a:lnTo>
                    <a:pt x="26" y="162"/>
                  </a:lnTo>
                  <a:lnTo>
                    <a:pt x="32" y="144"/>
                  </a:lnTo>
                  <a:lnTo>
                    <a:pt x="40" y="126"/>
                  </a:lnTo>
                  <a:lnTo>
                    <a:pt x="32" y="114"/>
                  </a:lnTo>
                  <a:lnTo>
                    <a:pt x="14" y="100"/>
                  </a:lnTo>
                  <a:lnTo>
                    <a:pt x="0" y="94"/>
                  </a:lnTo>
                  <a:lnTo>
                    <a:pt x="0" y="82"/>
                  </a:lnTo>
                  <a:lnTo>
                    <a:pt x="24" y="80"/>
                  </a:lnTo>
                  <a:lnTo>
                    <a:pt x="40" y="86"/>
                  </a:lnTo>
                  <a:lnTo>
                    <a:pt x="52" y="92"/>
                  </a:lnTo>
                  <a:lnTo>
                    <a:pt x="66" y="92"/>
                  </a:lnTo>
                  <a:lnTo>
                    <a:pt x="80" y="102"/>
                  </a:lnTo>
                  <a:lnTo>
                    <a:pt x="92" y="102"/>
                  </a:lnTo>
                  <a:lnTo>
                    <a:pt x="106" y="102"/>
                  </a:lnTo>
                  <a:lnTo>
                    <a:pt x="120" y="110"/>
                  </a:lnTo>
                  <a:lnTo>
                    <a:pt x="134" y="110"/>
                  </a:lnTo>
                  <a:lnTo>
                    <a:pt x="148" y="92"/>
                  </a:lnTo>
                  <a:lnTo>
                    <a:pt x="160" y="86"/>
                  </a:lnTo>
                  <a:lnTo>
                    <a:pt x="166" y="86"/>
                  </a:lnTo>
                  <a:lnTo>
                    <a:pt x="180" y="86"/>
                  </a:lnTo>
                  <a:lnTo>
                    <a:pt x="196" y="76"/>
                  </a:lnTo>
                  <a:lnTo>
                    <a:pt x="208" y="76"/>
                  </a:lnTo>
                  <a:lnTo>
                    <a:pt x="220" y="66"/>
                  </a:lnTo>
                  <a:lnTo>
                    <a:pt x="234" y="60"/>
                  </a:lnTo>
                  <a:lnTo>
                    <a:pt x="248" y="40"/>
                  </a:lnTo>
                  <a:lnTo>
                    <a:pt x="262" y="34"/>
                  </a:lnTo>
                  <a:lnTo>
                    <a:pt x="274" y="24"/>
                  </a:lnTo>
                  <a:lnTo>
                    <a:pt x="282" y="4"/>
                  </a:lnTo>
                  <a:lnTo>
                    <a:pt x="296" y="0"/>
                  </a:lnTo>
                  <a:lnTo>
                    <a:pt x="308" y="4"/>
                  </a:lnTo>
                  <a:lnTo>
                    <a:pt x="308" y="24"/>
                  </a:lnTo>
                  <a:lnTo>
                    <a:pt x="314" y="40"/>
                  </a:lnTo>
                  <a:lnTo>
                    <a:pt x="328" y="40"/>
                  </a:lnTo>
                  <a:lnTo>
                    <a:pt x="342" y="60"/>
                  </a:lnTo>
                  <a:lnTo>
                    <a:pt x="342" y="76"/>
                  </a:lnTo>
                  <a:lnTo>
                    <a:pt x="336" y="92"/>
                  </a:lnTo>
                  <a:lnTo>
                    <a:pt x="336" y="110"/>
                  </a:lnTo>
                  <a:lnTo>
                    <a:pt x="322" y="118"/>
                  </a:lnTo>
                  <a:lnTo>
                    <a:pt x="314" y="136"/>
                  </a:lnTo>
                  <a:lnTo>
                    <a:pt x="322" y="154"/>
                  </a:lnTo>
                  <a:lnTo>
                    <a:pt x="314" y="170"/>
                  </a:lnTo>
                  <a:lnTo>
                    <a:pt x="314" y="188"/>
                  </a:lnTo>
                  <a:lnTo>
                    <a:pt x="328" y="204"/>
                  </a:lnTo>
                  <a:lnTo>
                    <a:pt x="342" y="204"/>
                  </a:lnTo>
                  <a:lnTo>
                    <a:pt x="342" y="222"/>
                  </a:lnTo>
                  <a:lnTo>
                    <a:pt x="342" y="240"/>
                  </a:lnTo>
                  <a:lnTo>
                    <a:pt x="356" y="258"/>
                  </a:lnTo>
                  <a:lnTo>
                    <a:pt x="368" y="258"/>
                  </a:lnTo>
                  <a:lnTo>
                    <a:pt x="384" y="266"/>
                  </a:lnTo>
                  <a:lnTo>
                    <a:pt x="390" y="276"/>
                  </a:lnTo>
                  <a:lnTo>
                    <a:pt x="396" y="292"/>
                  </a:lnTo>
                  <a:lnTo>
                    <a:pt x="390" y="302"/>
                  </a:lnTo>
                  <a:lnTo>
                    <a:pt x="396" y="318"/>
                  </a:lnTo>
                  <a:lnTo>
                    <a:pt x="398" y="318"/>
                  </a:lnTo>
                </a:path>
              </a:pathLst>
            </a:custGeom>
            <a:solidFill>
              <a:srgbClr val="E0E0E0"/>
            </a:solidFill>
            <a:ln w="8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48"/>
            <p:cNvSpPr>
              <a:spLocks/>
            </p:cNvSpPr>
            <p:nvPr/>
          </p:nvSpPr>
          <p:spPr bwMode="auto">
            <a:xfrm>
              <a:off x="1218858" y="3030155"/>
              <a:ext cx="678648" cy="559063"/>
            </a:xfrm>
            <a:custGeom>
              <a:avLst/>
              <a:gdLst>
                <a:gd name="T0" fmla="*/ 412 w 454"/>
                <a:gd name="T1" fmla="*/ 358 h 374"/>
                <a:gd name="T2" fmla="*/ 426 w 454"/>
                <a:gd name="T3" fmla="*/ 330 h 374"/>
                <a:gd name="T4" fmla="*/ 446 w 454"/>
                <a:gd name="T5" fmla="*/ 314 h 374"/>
                <a:gd name="T6" fmla="*/ 454 w 454"/>
                <a:gd name="T7" fmla="*/ 278 h 374"/>
                <a:gd name="T8" fmla="*/ 440 w 454"/>
                <a:gd name="T9" fmla="*/ 244 h 374"/>
                <a:gd name="T10" fmla="*/ 446 w 454"/>
                <a:gd name="T11" fmla="*/ 208 h 374"/>
                <a:gd name="T12" fmla="*/ 420 w 454"/>
                <a:gd name="T13" fmla="*/ 208 h 374"/>
                <a:gd name="T14" fmla="*/ 398 w 454"/>
                <a:gd name="T15" fmla="*/ 200 h 374"/>
                <a:gd name="T16" fmla="*/ 372 w 454"/>
                <a:gd name="T17" fmla="*/ 182 h 374"/>
                <a:gd name="T18" fmla="*/ 344 w 454"/>
                <a:gd name="T19" fmla="*/ 158 h 374"/>
                <a:gd name="T20" fmla="*/ 344 w 454"/>
                <a:gd name="T21" fmla="*/ 122 h 374"/>
                <a:gd name="T22" fmla="*/ 344 w 454"/>
                <a:gd name="T23" fmla="*/ 86 h 374"/>
                <a:gd name="T24" fmla="*/ 338 w 454"/>
                <a:gd name="T25" fmla="*/ 52 h 374"/>
                <a:gd name="T26" fmla="*/ 324 w 454"/>
                <a:gd name="T27" fmla="*/ 42 h 374"/>
                <a:gd name="T28" fmla="*/ 298 w 454"/>
                <a:gd name="T29" fmla="*/ 34 h 374"/>
                <a:gd name="T30" fmla="*/ 270 w 454"/>
                <a:gd name="T31" fmla="*/ 26 h 374"/>
                <a:gd name="T32" fmla="*/ 242 w 454"/>
                <a:gd name="T33" fmla="*/ 8 h 374"/>
                <a:gd name="T34" fmla="*/ 216 w 454"/>
                <a:gd name="T35" fmla="*/ 0 h 374"/>
                <a:gd name="T36" fmla="*/ 188 w 454"/>
                <a:gd name="T37" fmla="*/ 8 h 374"/>
                <a:gd name="T38" fmla="*/ 168 w 454"/>
                <a:gd name="T39" fmla="*/ 34 h 374"/>
                <a:gd name="T40" fmla="*/ 150 w 454"/>
                <a:gd name="T41" fmla="*/ 60 h 374"/>
                <a:gd name="T42" fmla="*/ 122 w 454"/>
                <a:gd name="T43" fmla="*/ 52 h 374"/>
                <a:gd name="T44" fmla="*/ 106 w 454"/>
                <a:gd name="T45" fmla="*/ 86 h 374"/>
                <a:gd name="T46" fmla="*/ 94 w 454"/>
                <a:gd name="T47" fmla="*/ 96 h 374"/>
                <a:gd name="T48" fmla="*/ 72 w 454"/>
                <a:gd name="T49" fmla="*/ 106 h 374"/>
                <a:gd name="T50" fmla="*/ 40 w 454"/>
                <a:gd name="T51" fmla="*/ 96 h 374"/>
                <a:gd name="T52" fmla="*/ 14 w 454"/>
                <a:gd name="T53" fmla="*/ 96 h 374"/>
                <a:gd name="T54" fmla="*/ 0 w 454"/>
                <a:gd name="T55" fmla="*/ 124 h 374"/>
                <a:gd name="T56" fmla="*/ 44 w 454"/>
                <a:gd name="T57" fmla="*/ 116 h 374"/>
                <a:gd name="T58" fmla="*/ 72 w 454"/>
                <a:gd name="T59" fmla="*/ 118 h 374"/>
                <a:gd name="T60" fmla="*/ 80 w 454"/>
                <a:gd name="T61" fmla="*/ 132 h 374"/>
                <a:gd name="T62" fmla="*/ 88 w 454"/>
                <a:gd name="T63" fmla="*/ 166 h 374"/>
                <a:gd name="T64" fmla="*/ 88 w 454"/>
                <a:gd name="T65" fmla="*/ 200 h 374"/>
                <a:gd name="T66" fmla="*/ 94 w 454"/>
                <a:gd name="T67" fmla="*/ 236 h 374"/>
                <a:gd name="T68" fmla="*/ 122 w 454"/>
                <a:gd name="T69" fmla="*/ 278 h 374"/>
                <a:gd name="T70" fmla="*/ 150 w 454"/>
                <a:gd name="T71" fmla="*/ 296 h 374"/>
                <a:gd name="T72" fmla="*/ 182 w 454"/>
                <a:gd name="T73" fmla="*/ 304 h 374"/>
                <a:gd name="T74" fmla="*/ 210 w 454"/>
                <a:gd name="T75" fmla="*/ 304 h 374"/>
                <a:gd name="T76" fmla="*/ 236 w 454"/>
                <a:gd name="T77" fmla="*/ 314 h 374"/>
                <a:gd name="T78" fmla="*/ 270 w 454"/>
                <a:gd name="T79" fmla="*/ 330 h 374"/>
                <a:gd name="T80" fmla="*/ 298 w 454"/>
                <a:gd name="T81" fmla="*/ 340 h 374"/>
                <a:gd name="T82" fmla="*/ 324 w 454"/>
                <a:gd name="T83" fmla="*/ 366 h 374"/>
                <a:gd name="T84" fmla="*/ 352 w 454"/>
                <a:gd name="T85" fmla="*/ 374 h 374"/>
                <a:gd name="T86" fmla="*/ 380 w 454"/>
                <a:gd name="T87" fmla="*/ 366 h 374"/>
                <a:gd name="T88" fmla="*/ 398 w 454"/>
                <a:gd name="T89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4" h="374">
                  <a:moveTo>
                    <a:pt x="398" y="374"/>
                  </a:moveTo>
                  <a:lnTo>
                    <a:pt x="412" y="358"/>
                  </a:lnTo>
                  <a:lnTo>
                    <a:pt x="420" y="340"/>
                  </a:lnTo>
                  <a:lnTo>
                    <a:pt x="426" y="330"/>
                  </a:lnTo>
                  <a:lnTo>
                    <a:pt x="432" y="322"/>
                  </a:lnTo>
                  <a:lnTo>
                    <a:pt x="446" y="314"/>
                  </a:lnTo>
                  <a:lnTo>
                    <a:pt x="454" y="296"/>
                  </a:lnTo>
                  <a:lnTo>
                    <a:pt x="454" y="278"/>
                  </a:lnTo>
                  <a:lnTo>
                    <a:pt x="446" y="262"/>
                  </a:lnTo>
                  <a:lnTo>
                    <a:pt x="440" y="244"/>
                  </a:lnTo>
                  <a:lnTo>
                    <a:pt x="440" y="226"/>
                  </a:lnTo>
                  <a:lnTo>
                    <a:pt x="446" y="208"/>
                  </a:lnTo>
                  <a:lnTo>
                    <a:pt x="432" y="208"/>
                  </a:lnTo>
                  <a:lnTo>
                    <a:pt x="420" y="208"/>
                  </a:lnTo>
                  <a:lnTo>
                    <a:pt x="412" y="190"/>
                  </a:lnTo>
                  <a:lnTo>
                    <a:pt x="398" y="200"/>
                  </a:lnTo>
                  <a:lnTo>
                    <a:pt x="384" y="190"/>
                  </a:lnTo>
                  <a:lnTo>
                    <a:pt x="372" y="182"/>
                  </a:lnTo>
                  <a:lnTo>
                    <a:pt x="358" y="174"/>
                  </a:lnTo>
                  <a:lnTo>
                    <a:pt x="344" y="158"/>
                  </a:lnTo>
                  <a:lnTo>
                    <a:pt x="338" y="140"/>
                  </a:lnTo>
                  <a:lnTo>
                    <a:pt x="344" y="122"/>
                  </a:lnTo>
                  <a:lnTo>
                    <a:pt x="352" y="106"/>
                  </a:lnTo>
                  <a:lnTo>
                    <a:pt x="344" y="86"/>
                  </a:lnTo>
                  <a:lnTo>
                    <a:pt x="338" y="70"/>
                  </a:lnTo>
                  <a:lnTo>
                    <a:pt x="338" y="52"/>
                  </a:lnTo>
                  <a:lnTo>
                    <a:pt x="338" y="42"/>
                  </a:lnTo>
                  <a:lnTo>
                    <a:pt x="324" y="42"/>
                  </a:lnTo>
                  <a:lnTo>
                    <a:pt x="312" y="34"/>
                  </a:lnTo>
                  <a:lnTo>
                    <a:pt x="298" y="34"/>
                  </a:lnTo>
                  <a:lnTo>
                    <a:pt x="284" y="34"/>
                  </a:lnTo>
                  <a:lnTo>
                    <a:pt x="270" y="26"/>
                  </a:lnTo>
                  <a:lnTo>
                    <a:pt x="256" y="16"/>
                  </a:lnTo>
                  <a:lnTo>
                    <a:pt x="242" y="8"/>
                  </a:lnTo>
                  <a:lnTo>
                    <a:pt x="228" y="8"/>
                  </a:lnTo>
                  <a:lnTo>
                    <a:pt x="216" y="0"/>
                  </a:lnTo>
                  <a:lnTo>
                    <a:pt x="202" y="16"/>
                  </a:lnTo>
                  <a:lnTo>
                    <a:pt x="188" y="8"/>
                  </a:lnTo>
                  <a:lnTo>
                    <a:pt x="174" y="16"/>
                  </a:lnTo>
                  <a:lnTo>
                    <a:pt x="168" y="34"/>
                  </a:lnTo>
                  <a:lnTo>
                    <a:pt x="164" y="52"/>
                  </a:lnTo>
                  <a:lnTo>
                    <a:pt x="150" y="60"/>
                  </a:lnTo>
                  <a:lnTo>
                    <a:pt x="136" y="60"/>
                  </a:lnTo>
                  <a:lnTo>
                    <a:pt x="122" y="52"/>
                  </a:lnTo>
                  <a:lnTo>
                    <a:pt x="116" y="70"/>
                  </a:lnTo>
                  <a:lnTo>
                    <a:pt x="106" y="86"/>
                  </a:lnTo>
                  <a:lnTo>
                    <a:pt x="100" y="106"/>
                  </a:lnTo>
                  <a:lnTo>
                    <a:pt x="94" y="96"/>
                  </a:lnTo>
                  <a:lnTo>
                    <a:pt x="80" y="96"/>
                  </a:lnTo>
                  <a:lnTo>
                    <a:pt x="72" y="106"/>
                  </a:lnTo>
                  <a:lnTo>
                    <a:pt x="54" y="96"/>
                  </a:lnTo>
                  <a:lnTo>
                    <a:pt x="40" y="96"/>
                  </a:lnTo>
                  <a:lnTo>
                    <a:pt x="28" y="96"/>
                  </a:lnTo>
                  <a:lnTo>
                    <a:pt x="14" y="96"/>
                  </a:lnTo>
                  <a:lnTo>
                    <a:pt x="0" y="114"/>
                  </a:lnTo>
                  <a:lnTo>
                    <a:pt x="0" y="124"/>
                  </a:lnTo>
                  <a:lnTo>
                    <a:pt x="30" y="120"/>
                  </a:lnTo>
                  <a:lnTo>
                    <a:pt x="44" y="116"/>
                  </a:lnTo>
                  <a:lnTo>
                    <a:pt x="56" y="116"/>
                  </a:lnTo>
                  <a:lnTo>
                    <a:pt x="72" y="118"/>
                  </a:lnTo>
                  <a:lnTo>
                    <a:pt x="80" y="122"/>
                  </a:lnTo>
                  <a:lnTo>
                    <a:pt x="80" y="132"/>
                  </a:lnTo>
                  <a:lnTo>
                    <a:pt x="80" y="150"/>
                  </a:lnTo>
                  <a:lnTo>
                    <a:pt x="88" y="166"/>
                  </a:lnTo>
                  <a:lnTo>
                    <a:pt x="88" y="182"/>
                  </a:lnTo>
                  <a:lnTo>
                    <a:pt x="88" y="200"/>
                  </a:lnTo>
                  <a:lnTo>
                    <a:pt x="88" y="218"/>
                  </a:lnTo>
                  <a:lnTo>
                    <a:pt x="94" y="236"/>
                  </a:lnTo>
                  <a:lnTo>
                    <a:pt x="106" y="262"/>
                  </a:lnTo>
                  <a:lnTo>
                    <a:pt x="122" y="278"/>
                  </a:lnTo>
                  <a:lnTo>
                    <a:pt x="136" y="288"/>
                  </a:lnTo>
                  <a:lnTo>
                    <a:pt x="150" y="296"/>
                  </a:lnTo>
                  <a:lnTo>
                    <a:pt x="164" y="304"/>
                  </a:lnTo>
                  <a:lnTo>
                    <a:pt x="182" y="304"/>
                  </a:lnTo>
                  <a:lnTo>
                    <a:pt x="196" y="304"/>
                  </a:lnTo>
                  <a:lnTo>
                    <a:pt x="210" y="304"/>
                  </a:lnTo>
                  <a:lnTo>
                    <a:pt x="222" y="304"/>
                  </a:lnTo>
                  <a:lnTo>
                    <a:pt x="236" y="314"/>
                  </a:lnTo>
                  <a:lnTo>
                    <a:pt x="250" y="322"/>
                  </a:lnTo>
                  <a:lnTo>
                    <a:pt x="270" y="330"/>
                  </a:lnTo>
                  <a:lnTo>
                    <a:pt x="284" y="330"/>
                  </a:lnTo>
                  <a:lnTo>
                    <a:pt x="298" y="340"/>
                  </a:lnTo>
                  <a:lnTo>
                    <a:pt x="312" y="358"/>
                  </a:lnTo>
                  <a:lnTo>
                    <a:pt x="324" y="366"/>
                  </a:lnTo>
                  <a:lnTo>
                    <a:pt x="338" y="374"/>
                  </a:lnTo>
                  <a:lnTo>
                    <a:pt x="352" y="374"/>
                  </a:lnTo>
                  <a:lnTo>
                    <a:pt x="364" y="366"/>
                  </a:lnTo>
                  <a:lnTo>
                    <a:pt x="380" y="366"/>
                  </a:lnTo>
                  <a:lnTo>
                    <a:pt x="392" y="374"/>
                  </a:lnTo>
                  <a:lnTo>
                    <a:pt x="398" y="374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49"/>
            <p:cNvSpPr>
              <a:spLocks/>
            </p:cNvSpPr>
            <p:nvPr/>
          </p:nvSpPr>
          <p:spPr bwMode="auto">
            <a:xfrm>
              <a:off x="1218858" y="3030155"/>
              <a:ext cx="678648" cy="559063"/>
            </a:xfrm>
            <a:custGeom>
              <a:avLst/>
              <a:gdLst>
                <a:gd name="T0" fmla="*/ 412 w 454"/>
                <a:gd name="T1" fmla="*/ 358 h 374"/>
                <a:gd name="T2" fmla="*/ 426 w 454"/>
                <a:gd name="T3" fmla="*/ 330 h 374"/>
                <a:gd name="T4" fmla="*/ 446 w 454"/>
                <a:gd name="T5" fmla="*/ 314 h 374"/>
                <a:gd name="T6" fmla="*/ 454 w 454"/>
                <a:gd name="T7" fmla="*/ 278 h 374"/>
                <a:gd name="T8" fmla="*/ 440 w 454"/>
                <a:gd name="T9" fmla="*/ 244 h 374"/>
                <a:gd name="T10" fmla="*/ 446 w 454"/>
                <a:gd name="T11" fmla="*/ 208 h 374"/>
                <a:gd name="T12" fmla="*/ 420 w 454"/>
                <a:gd name="T13" fmla="*/ 208 h 374"/>
                <a:gd name="T14" fmla="*/ 398 w 454"/>
                <a:gd name="T15" fmla="*/ 200 h 374"/>
                <a:gd name="T16" fmla="*/ 372 w 454"/>
                <a:gd name="T17" fmla="*/ 182 h 374"/>
                <a:gd name="T18" fmla="*/ 344 w 454"/>
                <a:gd name="T19" fmla="*/ 158 h 374"/>
                <a:gd name="T20" fmla="*/ 344 w 454"/>
                <a:gd name="T21" fmla="*/ 122 h 374"/>
                <a:gd name="T22" fmla="*/ 344 w 454"/>
                <a:gd name="T23" fmla="*/ 86 h 374"/>
                <a:gd name="T24" fmla="*/ 338 w 454"/>
                <a:gd name="T25" fmla="*/ 52 h 374"/>
                <a:gd name="T26" fmla="*/ 324 w 454"/>
                <a:gd name="T27" fmla="*/ 42 h 374"/>
                <a:gd name="T28" fmla="*/ 298 w 454"/>
                <a:gd name="T29" fmla="*/ 34 h 374"/>
                <a:gd name="T30" fmla="*/ 270 w 454"/>
                <a:gd name="T31" fmla="*/ 26 h 374"/>
                <a:gd name="T32" fmla="*/ 242 w 454"/>
                <a:gd name="T33" fmla="*/ 8 h 374"/>
                <a:gd name="T34" fmla="*/ 216 w 454"/>
                <a:gd name="T35" fmla="*/ 0 h 374"/>
                <a:gd name="T36" fmla="*/ 188 w 454"/>
                <a:gd name="T37" fmla="*/ 8 h 374"/>
                <a:gd name="T38" fmla="*/ 168 w 454"/>
                <a:gd name="T39" fmla="*/ 34 h 374"/>
                <a:gd name="T40" fmla="*/ 150 w 454"/>
                <a:gd name="T41" fmla="*/ 60 h 374"/>
                <a:gd name="T42" fmla="*/ 122 w 454"/>
                <a:gd name="T43" fmla="*/ 52 h 374"/>
                <a:gd name="T44" fmla="*/ 106 w 454"/>
                <a:gd name="T45" fmla="*/ 86 h 374"/>
                <a:gd name="T46" fmla="*/ 94 w 454"/>
                <a:gd name="T47" fmla="*/ 96 h 374"/>
                <a:gd name="T48" fmla="*/ 72 w 454"/>
                <a:gd name="T49" fmla="*/ 106 h 374"/>
                <a:gd name="T50" fmla="*/ 40 w 454"/>
                <a:gd name="T51" fmla="*/ 96 h 374"/>
                <a:gd name="T52" fmla="*/ 14 w 454"/>
                <a:gd name="T53" fmla="*/ 96 h 374"/>
                <a:gd name="T54" fmla="*/ 0 w 454"/>
                <a:gd name="T55" fmla="*/ 124 h 374"/>
                <a:gd name="T56" fmla="*/ 44 w 454"/>
                <a:gd name="T57" fmla="*/ 116 h 374"/>
                <a:gd name="T58" fmla="*/ 72 w 454"/>
                <a:gd name="T59" fmla="*/ 118 h 374"/>
                <a:gd name="T60" fmla="*/ 80 w 454"/>
                <a:gd name="T61" fmla="*/ 132 h 374"/>
                <a:gd name="T62" fmla="*/ 88 w 454"/>
                <a:gd name="T63" fmla="*/ 166 h 374"/>
                <a:gd name="T64" fmla="*/ 88 w 454"/>
                <a:gd name="T65" fmla="*/ 200 h 374"/>
                <a:gd name="T66" fmla="*/ 94 w 454"/>
                <a:gd name="T67" fmla="*/ 236 h 374"/>
                <a:gd name="T68" fmla="*/ 122 w 454"/>
                <a:gd name="T69" fmla="*/ 278 h 374"/>
                <a:gd name="T70" fmla="*/ 150 w 454"/>
                <a:gd name="T71" fmla="*/ 296 h 374"/>
                <a:gd name="T72" fmla="*/ 182 w 454"/>
                <a:gd name="T73" fmla="*/ 304 h 374"/>
                <a:gd name="T74" fmla="*/ 210 w 454"/>
                <a:gd name="T75" fmla="*/ 304 h 374"/>
                <a:gd name="T76" fmla="*/ 236 w 454"/>
                <a:gd name="T77" fmla="*/ 314 h 374"/>
                <a:gd name="T78" fmla="*/ 270 w 454"/>
                <a:gd name="T79" fmla="*/ 330 h 374"/>
                <a:gd name="T80" fmla="*/ 298 w 454"/>
                <a:gd name="T81" fmla="*/ 340 h 374"/>
                <a:gd name="T82" fmla="*/ 324 w 454"/>
                <a:gd name="T83" fmla="*/ 366 h 374"/>
                <a:gd name="T84" fmla="*/ 352 w 454"/>
                <a:gd name="T85" fmla="*/ 374 h 374"/>
                <a:gd name="T86" fmla="*/ 380 w 454"/>
                <a:gd name="T87" fmla="*/ 366 h 374"/>
                <a:gd name="T88" fmla="*/ 398 w 454"/>
                <a:gd name="T89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4" h="374">
                  <a:moveTo>
                    <a:pt x="398" y="374"/>
                  </a:moveTo>
                  <a:lnTo>
                    <a:pt x="412" y="358"/>
                  </a:lnTo>
                  <a:lnTo>
                    <a:pt x="420" y="340"/>
                  </a:lnTo>
                  <a:lnTo>
                    <a:pt x="426" y="330"/>
                  </a:lnTo>
                  <a:lnTo>
                    <a:pt x="432" y="322"/>
                  </a:lnTo>
                  <a:lnTo>
                    <a:pt x="446" y="314"/>
                  </a:lnTo>
                  <a:lnTo>
                    <a:pt x="454" y="296"/>
                  </a:lnTo>
                  <a:lnTo>
                    <a:pt x="454" y="278"/>
                  </a:lnTo>
                  <a:lnTo>
                    <a:pt x="446" y="262"/>
                  </a:lnTo>
                  <a:lnTo>
                    <a:pt x="440" y="244"/>
                  </a:lnTo>
                  <a:lnTo>
                    <a:pt x="440" y="226"/>
                  </a:lnTo>
                  <a:lnTo>
                    <a:pt x="446" y="208"/>
                  </a:lnTo>
                  <a:lnTo>
                    <a:pt x="432" y="208"/>
                  </a:lnTo>
                  <a:lnTo>
                    <a:pt x="420" y="208"/>
                  </a:lnTo>
                  <a:lnTo>
                    <a:pt x="412" y="190"/>
                  </a:lnTo>
                  <a:lnTo>
                    <a:pt x="398" y="200"/>
                  </a:lnTo>
                  <a:lnTo>
                    <a:pt x="384" y="190"/>
                  </a:lnTo>
                  <a:lnTo>
                    <a:pt x="372" y="182"/>
                  </a:lnTo>
                  <a:lnTo>
                    <a:pt x="358" y="174"/>
                  </a:lnTo>
                  <a:lnTo>
                    <a:pt x="344" y="158"/>
                  </a:lnTo>
                  <a:lnTo>
                    <a:pt x="338" y="140"/>
                  </a:lnTo>
                  <a:lnTo>
                    <a:pt x="344" y="122"/>
                  </a:lnTo>
                  <a:lnTo>
                    <a:pt x="352" y="106"/>
                  </a:lnTo>
                  <a:lnTo>
                    <a:pt x="344" y="86"/>
                  </a:lnTo>
                  <a:lnTo>
                    <a:pt x="338" y="70"/>
                  </a:lnTo>
                  <a:lnTo>
                    <a:pt x="338" y="52"/>
                  </a:lnTo>
                  <a:lnTo>
                    <a:pt x="338" y="42"/>
                  </a:lnTo>
                  <a:lnTo>
                    <a:pt x="324" y="42"/>
                  </a:lnTo>
                  <a:lnTo>
                    <a:pt x="312" y="34"/>
                  </a:lnTo>
                  <a:lnTo>
                    <a:pt x="298" y="34"/>
                  </a:lnTo>
                  <a:lnTo>
                    <a:pt x="284" y="34"/>
                  </a:lnTo>
                  <a:lnTo>
                    <a:pt x="270" y="26"/>
                  </a:lnTo>
                  <a:lnTo>
                    <a:pt x="256" y="16"/>
                  </a:lnTo>
                  <a:lnTo>
                    <a:pt x="242" y="8"/>
                  </a:lnTo>
                  <a:lnTo>
                    <a:pt x="228" y="8"/>
                  </a:lnTo>
                  <a:lnTo>
                    <a:pt x="216" y="0"/>
                  </a:lnTo>
                  <a:lnTo>
                    <a:pt x="202" y="16"/>
                  </a:lnTo>
                  <a:lnTo>
                    <a:pt x="188" y="8"/>
                  </a:lnTo>
                  <a:lnTo>
                    <a:pt x="174" y="16"/>
                  </a:lnTo>
                  <a:lnTo>
                    <a:pt x="168" y="34"/>
                  </a:lnTo>
                  <a:lnTo>
                    <a:pt x="164" y="52"/>
                  </a:lnTo>
                  <a:lnTo>
                    <a:pt x="150" y="60"/>
                  </a:lnTo>
                  <a:lnTo>
                    <a:pt x="136" y="60"/>
                  </a:lnTo>
                  <a:lnTo>
                    <a:pt x="122" y="52"/>
                  </a:lnTo>
                  <a:lnTo>
                    <a:pt x="116" y="70"/>
                  </a:lnTo>
                  <a:lnTo>
                    <a:pt x="106" y="86"/>
                  </a:lnTo>
                  <a:lnTo>
                    <a:pt x="100" y="106"/>
                  </a:lnTo>
                  <a:lnTo>
                    <a:pt x="94" y="96"/>
                  </a:lnTo>
                  <a:lnTo>
                    <a:pt x="80" y="96"/>
                  </a:lnTo>
                  <a:lnTo>
                    <a:pt x="72" y="106"/>
                  </a:lnTo>
                  <a:lnTo>
                    <a:pt x="54" y="96"/>
                  </a:lnTo>
                  <a:lnTo>
                    <a:pt x="40" y="96"/>
                  </a:lnTo>
                  <a:lnTo>
                    <a:pt x="28" y="96"/>
                  </a:lnTo>
                  <a:lnTo>
                    <a:pt x="14" y="96"/>
                  </a:lnTo>
                  <a:lnTo>
                    <a:pt x="0" y="114"/>
                  </a:lnTo>
                  <a:lnTo>
                    <a:pt x="0" y="124"/>
                  </a:lnTo>
                  <a:lnTo>
                    <a:pt x="30" y="120"/>
                  </a:lnTo>
                  <a:lnTo>
                    <a:pt x="44" y="116"/>
                  </a:lnTo>
                  <a:lnTo>
                    <a:pt x="56" y="116"/>
                  </a:lnTo>
                  <a:lnTo>
                    <a:pt x="72" y="118"/>
                  </a:lnTo>
                  <a:lnTo>
                    <a:pt x="80" y="122"/>
                  </a:lnTo>
                  <a:lnTo>
                    <a:pt x="80" y="132"/>
                  </a:lnTo>
                  <a:lnTo>
                    <a:pt x="80" y="150"/>
                  </a:lnTo>
                  <a:lnTo>
                    <a:pt x="88" y="166"/>
                  </a:lnTo>
                  <a:lnTo>
                    <a:pt x="88" y="182"/>
                  </a:lnTo>
                  <a:lnTo>
                    <a:pt x="88" y="200"/>
                  </a:lnTo>
                  <a:lnTo>
                    <a:pt x="88" y="218"/>
                  </a:lnTo>
                  <a:lnTo>
                    <a:pt x="94" y="236"/>
                  </a:lnTo>
                  <a:lnTo>
                    <a:pt x="106" y="262"/>
                  </a:lnTo>
                  <a:lnTo>
                    <a:pt x="122" y="278"/>
                  </a:lnTo>
                  <a:lnTo>
                    <a:pt x="136" y="288"/>
                  </a:lnTo>
                  <a:lnTo>
                    <a:pt x="150" y="296"/>
                  </a:lnTo>
                  <a:lnTo>
                    <a:pt x="164" y="304"/>
                  </a:lnTo>
                  <a:lnTo>
                    <a:pt x="182" y="304"/>
                  </a:lnTo>
                  <a:lnTo>
                    <a:pt x="196" y="304"/>
                  </a:lnTo>
                  <a:lnTo>
                    <a:pt x="210" y="304"/>
                  </a:lnTo>
                  <a:lnTo>
                    <a:pt x="222" y="304"/>
                  </a:lnTo>
                  <a:lnTo>
                    <a:pt x="236" y="314"/>
                  </a:lnTo>
                  <a:lnTo>
                    <a:pt x="250" y="322"/>
                  </a:lnTo>
                  <a:lnTo>
                    <a:pt x="270" y="330"/>
                  </a:lnTo>
                  <a:lnTo>
                    <a:pt x="284" y="330"/>
                  </a:lnTo>
                  <a:lnTo>
                    <a:pt x="298" y="340"/>
                  </a:lnTo>
                  <a:lnTo>
                    <a:pt x="312" y="358"/>
                  </a:lnTo>
                  <a:lnTo>
                    <a:pt x="324" y="366"/>
                  </a:lnTo>
                  <a:lnTo>
                    <a:pt x="338" y="374"/>
                  </a:lnTo>
                  <a:lnTo>
                    <a:pt x="352" y="374"/>
                  </a:lnTo>
                  <a:lnTo>
                    <a:pt x="364" y="366"/>
                  </a:lnTo>
                  <a:lnTo>
                    <a:pt x="380" y="366"/>
                  </a:lnTo>
                  <a:lnTo>
                    <a:pt x="392" y="374"/>
                  </a:lnTo>
                  <a:lnTo>
                    <a:pt x="398" y="374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52"/>
            <p:cNvSpPr>
              <a:spLocks/>
            </p:cNvSpPr>
            <p:nvPr/>
          </p:nvSpPr>
          <p:spPr bwMode="auto">
            <a:xfrm>
              <a:off x="1721117" y="2967373"/>
              <a:ext cx="1106167" cy="1022457"/>
            </a:xfrm>
            <a:custGeom>
              <a:avLst/>
              <a:gdLst>
                <a:gd name="T0" fmla="*/ 210 w 740"/>
                <a:gd name="T1" fmla="*/ 34 h 684"/>
                <a:gd name="T2" fmla="*/ 196 w 740"/>
                <a:gd name="T3" fmla="*/ 76 h 684"/>
                <a:gd name="T4" fmla="*/ 142 w 740"/>
                <a:gd name="T5" fmla="*/ 86 h 684"/>
                <a:gd name="T6" fmla="*/ 88 w 740"/>
                <a:gd name="T7" fmla="*/ 76 h 684"/>
                <a:gd name="T8" fmla="*/ 34 w 740"/>
                <a:gd name="T9" fmla="*/ 86 h 684"/>
                <a:gd name="T10" fmla="*/ 0 w 740"/>
                <a:gd name="T11" fmla="*/ 86 h 684"/>
                <a:gd name="T12" fmla="*/ 0 w 740"/>
                <a:gd name="T13" fmla="*/ 114 h 684"/>
                <a:gd name="T14" fmla="*/ 8 w 740"/>
                <a:gd name="T15" fmla="*/ 164 h 684"/>
                <a:gd name="T16" fmla="*/ 22 w 740"/>
                <a:gd name="T17" fmla="*/ 218 h 684"/>
                <a:gd name="T18" fmla="*/ 62 w 740"/>
                <a:gd name="T19" fmla="*/ 242 h 684"/>
                <a:gd name="T20" fmla="*/ 96 w 740"/>
                <a:gd name="T21" fmla="*/ 250 h 684"/>
                <a:gd name="T22" fmla="*/ 102 w 740"/>
                <a:gd name="T23" fmla="*/ 286 h 684"/>
                <a:gd name="T24" fmla="*/ 118 w 740"/>
                <a:gd name="T25" fmla="*/ 338 h 684"/>
                <a:gd name="T26" fmla="*/ 88 w 740"/>
                <a:gd name="T27" fmla="*/ 372 h 684"/>
                <a:gd name="T28" fmla="*/ 62 w 740"/>
                <a:gd name="T29" fmla="*/ 416 h 684"/>
                <a:gd name="T30" fmla="*/ 82 w 740"/>
                <a:gd name="T31" fmla="*/ 442 h 684"/>
                <a:gd name="T32" fmla="*/ 74 w 740"/>
                <a:gd name="T33" fmla="*/ 502 h 684"/>
                <a:gd name="T34" fmla="*/ 82 w 740"/>
                <a:gd name="T35" fmla="*/ 552 h 684"/>
                <a:gd name="T36" fmla="*/ 134 w 740"/>
                <a:gd name="T37" fmla="*/ 562 h 684"/>
                <a:gd name="T38" fmla="*/ 176 w 740"/>
                <a:gd name="T39" fmla="*/ 572 h 684"/>
                <a:gd name="T40" fmla="*/ 210 w 740"/>
                <a:gd name="T41" fmla="*/ 596 h 684"/>
                <a:gd name="T42" fmla="*/ 230 w 740"/>
                <a:gd name="T43" fmla="*/ 640 h 684"/>
                <a:gd name="T44" fmla="*/ 252 w 740"/>
                <a:gd name="T45" fmla="*/ 676 h 684"/>
                <a:gd name="T46" fmla="*/ 284 w 740"/>
                <a:gd name="T47" fmla="*/ 666 h 684"/>
                <a:gd name="T48" fmla="*/ 326 w 740"/>
                <a:gd name="T49" fmla="*/ 632 h 684"/>
                <a:gd name="T50" fmla="*/ 372 w 740"/>
                <a:gd name="T51" fmla="*/ 632 h 684"/>
                <a:gd name="T52" fmla="*/ 422 w 740"/>
                <a:gd name="T53" fmla="*/ 648 h 684"/>
                <a:gd name="T54" fmla="*/ 466 w 740"/>
                <a:gd name="T55" fmla="*/ 648 h 684"/>
                <a:gd name="T56" fmla="*/ 514 w 740"/>
                <a:gd name="T57" fmla="*/ 632 h 684"/>
                <a:gd name="T58" fmla="*/ 514 w 740"/>
                <a:gd name="T59" fmla="*/ 684 h 684"/>
                <a:gd name="T60" fmla="*/ 548 w 740"/>
                <a:gd name="T61" fmla="*/ 666 h 684"/>
                <a:gd name="T62" fmla="*/ 562 w 740"/>
                <a:gd name="T63" fmla="*/ 614 h 684"/>
                <a:gd name="T64" fmla="*/ 590 w 740"/>
                <a:gd name="T65" fmla="*/ 562 h 684"/>
                <a:gd name="T66" fmla="*/ 624 w 740"/>
                <a:gd name="T67" fmla="*/ 536 h 684"/>
                <a:gd name="T68" fmla="*/ 650 w 740"/>
                <a:gd name="T69" fmla="*/ 492 h 684"/>
                <a:gd name="T70" fmla="*/ 684 w 740"/>
                <a:gd name="T71" fmla="*/ 468 h 684"/>
                <a:gd name="T72" fmla="*/ 704 w 740"/>
                <a:gd name="T73" fmla="*/ 416 h 684"/>
                <a:gd name="T74" fmla="*/ 710 w 740"/>
                <a:gd name="T75" fmla="*/ 362 h 684"/>
                <a:gd name="T76" fmla="*/ 704 w 740"/>
                <a:gd name="T77" fmla="*/ 310 h 684"/>
                <a:gd name="T78" fmla="*/ 710 w 740"/>
                <a:gd name="T79" fmla="*/ 258 h 684"/>
                <a:gd name="T80" fmla="*/ 704 w 740"/>
                <a:gd name="T81" fmla="*/ 206 h 684"/>
                <a:gd name="T82" fmla="*/ 724 w 740"/>
                <a:gd name="T83" fmla="*/ 164 h 684"/>
                <a:gd name="T84" fmla="*/ 726 w 740"/>
                <a:gd name="T85" fmla="*/ 146 h 684"/>
                <a:gd name="T86" fmla="*/ 664 w 740"/>
                <a:gd name="T87" fmla="*/ 156 h 684"/>
                <a:gd name="T88" fmla="*/ 604 w 740"/>
                <a:gd name="T89" fmla="*/ 146 h 684"/>
                <a:gd name="T90" fmla="*/ 536 w 740"/>
                <a:gd name="T91" fmla="*/ 146 h 684"/>
                <a:gd name="T92" fmla="*/ 482 w 740"/>
                <a:gd name="T93" fmla="*/ 146 h 684"/>
                <a:gd name="T94" fmla="*/ 414 w 740"/>
                <a:gd name="T95" fmla="*/ 146 h 684"/>
                <a:gd name="T96" fmla="*/ 354 w 740"/>
                <a:gd name="T97" fmla="*/ 138 h 684"/>
                <a:gd name="T98" fmla="*/ 314 w 740"/>
                <a:gd name="T99" fmla="*/ 138 h 684"/>
                <a:gd name="T100" fmla="*/ 286 w 740"/>
                <a:gd name="T101" fmla="*/ 104 h 684"/>
                <a:gd name="T102" fmla="*/ 252 w 740"/>
                <a:gd name="T103" fmla="*/ 70 h 684"/>
                <a:gd name="T104" fmla="*/ 238 w 740"/>
                <a:gd name="T105" fmla="*/ 16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0" h="684">
                  <a:moveTo>
                    <a:pt x="230" y="0"/>
                  </a:moveTo>
                  <a:lnTo>
                    <a:pt x="214" y="16"/>
                  </a:lnTo>
                  <a:lnTo>
                    <a:pt x="210" y="34"/>
                  </a:lnTo>
                  <a:lnTo>
                    <a:pt x="202" y="52"/>
                  </a:lnTo>
                  <a:lnTo>
                    <a:pt x="202" y="70"/>
                  </a:lnTo>
                  <a:lnTo>
                    <a:pt x="196" y="76"/>
                  </a:lnTo>
                  <a:lnTo>
                    <a:pt x="182" y="76"/>
                  </a:lnTo>
                  <a:lnTo>
                    <a:pt x="162" y="86"/>
                  </a:lnTo>
                  <a:lnTo>
                    <a:pt x="142" y="86"/>
                  </a:lnTo>
                  <a:lnTo>
                    <a:pt x="128" y="86"/>
                  </a:lnTo>
                  <a:lnTo>
                    <a:pt x="108" y="76"/>
                  </a:lnTo>
                  <a:lnTo>
                    <a:pt x="88" y="76"/>
                  </a:lnTo>
                  <a:lnTo>
                    <a:pt x="68" y="86"/>
                  </a:lnTo>
                  <a:lnTo>
                    <a:pt x="54" y="86"/>
                  </a:lnTo>
                  <a:lnTo>
                    <a:pt x="34" y="86"/>
                  </a:lnTo>
                  <a:lnTo>
                    <a:pt x="20" y="86"/>
                  </a:lnTo>
                  <a:lnTo>
                    <a:pt x="8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94"/>
                  </a:lnTo>
                  <a:lnTo>
                    <a:pt x="0" y="114"/>
                  </a:lnTo>
                  <a:lnTo>
                    <a:pt x="8" y="130"/>
                  </a:lnTo>
                  <a:lnTo>
                    <a:pt x="14" y="148"/>
                  </a:lnTo>
                  <a:lnTo>
                    <a:pt x="8" y="164"/>
                  </a:lnTo>
                  <a:lnTo>
                    <a:pt x="0" y="182"/>
                  </a:lnTo>
                  <a:lnTo>
                    <a:pt x="8" y="198"/>
                  </a:lnTo>
                  <a:lnTo>
                    <a:pt x="22" y="218"/>
                  </a:lnTo>
                  <a:lnTo>
                    <a:pt x="36" y="224"/>
                  </a:lnTo>
                  <a:lnTo>
                    <a:pt x="48" y="234"/>
                  </a:lnTo>
                  <a:lnTo>
                    <a:pt x="62" y="242"/>
                  </a:lnTo>
                  <a:lnTo>
                    <a:pt x="76" y="234"/>
                  </a:lnTo>
                  <a:lnTo>
                    <a:pt x="82" y="250"/>
                  </a:lnTo>
                  <a:lnTo>
                    <a:pt x="96" y="250"/>
                  </a:lnTo>
                  <a:lnTo>
                    <a:pt x="110" y="250"/>
                  </a:lnTo>
                  <a:lnTo>
                    <a:pt x="102" y="268"/>
                  </a:lnTo>
                  <a:lnTo>
                    <a:pt x="102" y="286"/>
                  </a:lnTo>
                  <a:lnTo>
                    <a:pt x="110" y="304"/>
                  </a:lnTo>
                  <a:lnTo>
                    <a:pt x="118" y="320"/>
                  </a:lnTo>
                  <a:lnTo>
                    <a:pt x="118" y="338"/>
                  </a:lnTo>
                  <a:lnTo>
                    <a:pt x="110" y="356"/>
                  </a:lnTo>
                  <a:lnTo>
                    <a:pt x="96" y="364"/>
                  </a:lnTo>
                  <a:lnTo>
                    <a:pt x="88" y="372"/>
                  </a:lnTo>
                  <a:lnTo>
                    <a:pt x="82" y="380"/>
                  </a:lnTo>
                  <a:lnTo>
                    <a:pt x="76" y="398"/>
                  </a:lnTo>
                  <a:lnTo>
                    <a:pt x="62" y="416"/>
                  </a:lnTo>
                  <a:lnTo>
                    <a:pt x="60" y="416"/>
                  </a:lnTo>
                  <a:lnTo>
                    <a:pt x="68" y="422"/>
                  </a:lnTo>
                  <a:lnTo>
                    <a:pt x="82" y="442"/>
                  </a:lnTo>
                  <a:lnTo>
                    <a:pt x="82" y="458"/>
                  </a:lnTo>
                  <a:lnTo>
                    <a:pt x="74" y="474"/>
                  </a:lnTo>
                  <a:lnTo>
                    <a:pt x="74" y="502"/>
                  </a:lnTo>
                  <a:lnTo>
                    <a:pt x="68" y="520"/>
                  </a:lnTo>
                  <a:lnTo>
                    <a:pt x="74" y="536"/>
                  </a:lnTo>
                  <a:lnTo>
                    <a:pt x="82" y="552"/>
                  </a:lnTo>
                  <a:lnTo>
                    <a:pt x="102" y="562"/>
                  </a:lnTo>
                  <a:lnTo>
                    <a:pt x="122" y="562"/>
                  </a:lnTo>
                  <a:lnTo>
                    <a:pt x="134" y="562"/>
                  </a:lnTo>
                  <a:lnTo>
                    <a:pt x="150" y="572"/>
                  </a:lnTo>
                  <a:lnTo>
                    <a:pt x="162" y="572"/>
                  </a:lnTo>
                  <a:lnTo>
                    <a:pt x="176" y="572"/>
                  </a:lnTo>
                  <a:lnTo>
                    <a:pt x="190" y="572"/>
                  </a:lnTo>
                  <a:lnTo>
                    <a:pt x="210" y="580"/>
                  </a:lnTo>
                  <a:lnTo>
                    <a:pt x="210" y="596"/>
                  </a:lnTo>
                  <a:lnTo>
                    <a:pt x="210" y="614"/>
                  </a:lnTo>
                  <a:lnTo>
                    <a:pt x="218" y="632"/>
                  </a:lnTo>
                  <a:lnTo>
                    <a:pt x="230" y="640"/>
                  </a:lnTo>
                  <a:lnTo>
                    <a:pt x="244" y="640"/>
                  </a:lnTo>
                  <a:lnTo>
                    <a:pt x="252" y="658"/>
                  </a:lnTo>
                  <a:lnTo>
                    <a:pt x="252" y="676"/>
                  </a:lnTo>
                  <a:lnTo>
                    <a:pt x="256" y="676"/>
                  </a:lnTo>
                  <a:lnTo>
                    <a:pt x="272" y="676"/>
                  </a:lnTo>
                  <a:lnTo>
                    <a:pt x="284" y="666"/>
                  </a:lnTo>
                  <a:lnTo>
                    <a:pt x="298" y="658"/>
                  </a:lnTo>
                  <a:lnTo>
                    <a:pt x="312" y="640"/>
                  </a:lnTo>
                  <a:lnTo>
                    <a:pt x="326" y="632"/>
                  </a:lnTo>
                  <a:lnTo>
                    <a:pt x="340" y="632"/>
                  </a:lnTo>
                  <a:lnTo>
                    <a:pt x="360" y="632"/>
                  </a:lnTo>
                  <a:lnTo>
                    <a:pt x="372" y="632"/>
                  </a:lnTo>
                  <a:lnTo>
                    <a:pt x="386" y="640"/>
                  </a:lnTo>
                  <a:lnTo>
                    <a:pt x="406" y="648"/>
                  </a:lnTo>
                  <a:lnTo>
                    <a:pt x="422" y="648"/>
                  </a:lnTo>
                  <a:lnTo>
                    <a:pt x="440" y="648"/>
                  </a:lnTo>
                  <a:lnTo>
                    <a:pt x="452" y="648"/>
                  </a:lnTo>
                  <a:lnTo>
                    <a:pt x="466" y="648"/>
                  </a:lnTo>
                  <a:lnTo>
                    <a:pt x="488" y="640"/>
                  </a:lnTo>
                  <a:lnTo>
                    <a:pt x="502" y="640"/>
                  </a:lnTo>
                  <a:lnTo>
                    <a:pt x="514" y="632"/>
                  </a:lnTo>
                  <a:lnTo>
                    <a:pt x="514" y="648"/>
                  </a:lnTo>
                  <a:lnTo>
                    <a:pt x="514" y="666"/>
                  </a:lnTo>
                  <a:lnTo>
                    <a:pt x="514" y="684"/>
                  </a:lnTo>
                  <a:lnTo>
                    <a:pt x="528" y="684"/>
                  </a:lnTo>
                  <a:lnTo>
                    <a:pt x="542" y="684"/>
                  </a:lnTo>
                  <a:lnTo>
                    <a:pt x="548" y="666"/>
                  </a:lnTo>
                  <a:lnTo>
                    <a:pt x="542" y="648"/>
                  </a:lnTo>
                  <a:lnTo>
                    <a:pt x="548" y="632"/>
                  </a:lnTo>
                  <a:lnTo>
                    <a:pt x="562" y="614"/>
                  </a:lnTo>
                  <a:lnTo>
                    <a:pt x="568" y="596"/>
                  </a:lnTo>
                  <a:lnTo>
                    <a:pt x="582" y="580"/>
                  </a:lnTo>
                  <a:lnTo>
                    <a:pt x="590" y="562"/>
                  </a:lnTo>
                  <a:lnTo>
                    <a:pt x="596" y="544"/>
                  </a:lnTo>
                  <a:lnTo>
                    <a:pt x="610" y="544"/>
                  </a:lnTo>
                  <a:lnTo>
                    <a:pt x="624" y="536"/>
                  </a:lnTo>
                  <a:lnTo>
                    <a:pt x="638" y="526"/>
                  </a:lnTo>
                  <a:lnTo>
                    <a:pt x="638" y="510"/>
                  </a:lnTo>
                  <a:lnTo>
                    <a:pt x="650" y="492"/>
                  </a:lnTo>
                  <a:lnTo>
                    <a:pt x="662" y="484"/>
                  </a:lnTo>
                  <a:lnTo>
                    <a:pt x="678" y="484"/>
                  </a:lnTo>
                  <a:lnTo>
                    <a:pt x="684" y="468"/>
                  </a:lnTo>
                  <a:lnTo>
                    <a:pt x="684" y="450"/>
                  </a:lnTo>
                  <a:lnTo>
                    <a:pt x="690" y="432"/>
                  </a:lnTo>
                  <a:lnTo>
                    <a:pt x="704" y="416"/>
                  </a:lnTo>
                  <a:lnTo>
                    <a:pt x="704" y="398"/>
                  </a:lnTo>
                  <a:lnTo>
                    <a:pt x="704" y="380"/>
                  </a:lnTo>
                  <a:lnTo>
                    <a:pt x="710" y="362"/>
                  </a:lnTo>
                  <a:lnTo>
                    <a:pt x="710" y="346"/>
                  </a:lnTo>
                  <a:lnTo>
                    <a:pt x="704" y="328"/>
                  </a:lnTo>
                  <a:lnTo>
                    <a:pt x="704" y="310"/>
                  </a:lnTo>
                  <a:lnTo>
                    <a:pt x="704" y="294"/>
                  </a:lnTo>
                  <a:lnTo>
                    <a:pt x="704" y="278"/>
                  </a:lnTo>
                  <a:lnTo>
                    <a:pt x="710" y="258"/>
                  </a:lnTo>
                  <a:lnTo>
                    <a:pt x="704" y="242"/>
                  </a:lnTo>
                  <a:lnTo>
                    <a:pt x="704" y="224"/>
                  </a:lnTo>
                  <a:lnTo>
                    <a:pt x="704" y="206"/>
                  </a:lnTo>
                  <a:lnTo>
                    <a:pt x="710" y="198"/>
                  </a:lnTo>
                  <a:lnTo>
                    <a:pt x="718" y="180"/>
                  </a:lnTo>
                  <a:lnTo>
                    <a:pt x="724" y="164"/>
                  </a:lnTo>
                  <a:lnTo>
                    <a:pt x="740" y="146"/>
                  </a:lnTo>
                  <a:lnTo>
                    <a:pt x="740" y="146"/>
                  </a:lnTo>
                  <a:lnTo>
                    <a:pt x="726" y="146"/>
                  </a:lnTo>
                  <a:lnTo>
                    <a:pt x="706" y="146"/>
                  </a:lnTo>
                  <a:lnTo>
                    <a:pt x="686" y="156"/>
                  </a:lnTo>
                  <a:lnTo>
                    <a:pt x="664" y="156"/>
                  </a:lnTo>
                  <a:lnTo>
                    <a:pt x="646" y="156"/>
                  </a:lnTo>
                  <a:lnTo>
                    <a:pt x="624" y="156"/>
                  </a:lnTo>
                  <a:lnTo>
                    <a:pt x="604" y="146"/>
                  </a:lnTo>
                  <a:lnTo>
                    <a:pt x="584" y="146"/>
                  </a:lnTo>
                  <a:lnTo>
                    <a:pt x="556" y="146"/>
                  </a:lnTo>
                  <a:lnTo>
                    <a:pt x="536" y="146"/>
                  </a:lnTo>
                  <a:lnTo>
                    <a:pt x="516" y="146"/>
                  </a:lnTo>
                  <a:lnTo>
                    <a:pt x="502" y="146"/>
                  </a:lnTo>
                  <a:lnTo>
                    <a:pt x="482" y="146"/>
                  </a:lnTo>
                  <a:lnTo>
                    <a:pt x="462" y="146"/>
                  </a:lnTo>
                  <a:lnTo>
                    <a:pt x="436" y="146"/>
                  </a:lnTo>
                  <a:lnTo>
                    <a:pt x="414" y="146"/>
                  </a:lnTo>
                  <a:lnTo>
                    <a:pt x="394" y="146"/>
                  </a:lnTo>
                  <a:lnTo>
                    <a:pt x="374" y="146"/>
                  </a:lnTo>
                  <a:lnTo>
                    <a:pt x="354" y="138"/>
                  </a:lnTo>
                  <a:lnTo>
                    <a:pt x="340" y="138"/>
                  </a:lnTo>
                  <a:lnTo>
                    <a:pt x="326" y="146"/>
                  </a:lnTo>
                  <a:lnTo>
                    <a:pt x="314" y="138"/>
                  </a:lnTo>
                  <a:lnTo>
                    <a:pt x="306" y="122"/>
                  </a:lnTo>
                  <a:lnTo>
                    <a:pt x="292" y="122"/>
                  </a:lnTo>
                  <a:lnTo>
                    <a:pt x="286" y="104"/>
                  </a:lnTo>
                  <a:lnTo>
                    <a:pt x="272" y="86"/>
                  </a:lnTo>
                  <a:lnTo>
                    <a:pt x="258" y="86"/>
                  </a:lnTo>
                  <a:lnTo>
                    <a:pt x="252" y="70"/>
                  </a:lnTo>
                  <a:lnTo>
                    <a:pt x="252" y="52"/>
                  </a:lnTo>
                  <a:lnTo>
                    <a:pt x="244" y="34"/>
                  </a:lnTo>
                  <a:lnTo>
                    <a:pt x="238" y="16"/>
                  </a:lnTo>
                  <a:lnTo>
                    <a:pt x="232" y="8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53"/>
            <p:cNvSpPr>
              <a:spLocks/>
            </p:cNvSpPr>
            <p:nvPr/>
          </p:nvSpPr>
          <p:spPr bwMode="auto">
            <a:xfrm>
              <a:off x="1721117" y="2967373"/>
              <a:ext cx="1106167" cy="1022457"/>
            </a:xfrm>
            <a:custGeom>
              <a:avLst/>
              <a:gdLst>
                <a:gd name="T0" fmla="*/ 210 w 740"/>
                <a:gd name="T1" fmla="*/ 34 h 684"/>
                <a:gd name="T2" fmla="*/ 196 w 740"/>
                <a:gd name="T3" fmla="*/ 76 h 684"/>
                <a:gd name="T4" fmla="*/ 142 w 740"/>
                <a:gd name="T5" fmla="*/ 86 h 684"/>
                <a:gd name="T6" fmla="*/ 88 w 740"/>
                <a:gd name="T7" fmla="*/ 76 h 684"/>
                <a:gd name="T8" fmla="*/ 34 w 740"/>
                <a:gd name="T9" fmla="*/ 86 h 684"/>
                <a:gd name="T10" fmla="*/ 0 w 740"/>
                <a:gd name="T11" fmla="*/ 86 h 684"/>
                <a:gd name="T12" fmla="*/ 0 w 740"/>
                <a:gd name="T13" fmla="*/ 114 h 684"/>
                <a:gd name="T14" fmla="*/ 8 w 740"/>
                <a:gd name="T15" fmla="*/ 164 h 684"/>
                <a:gd name="T16" fmla="*/ 22 w 740"/>
                <a:gd name="T17" fmla="*/ 218 h 684"/>
                <a:gd name="T18" fmla="*/ 62 w 740"/>
                <a:gd name="T19" fmla="*/ 242 h 684"/>
                <a:gd name="T20" fmla="*/ 96 w 740"/>
                <a:gd name="T21" fmla="*/ 250 h 684"/>
                <a:gd name="T22" fmla="*/ 102 w 740"/>
                <a:gd name="T23" fmla="*/ 286 h 684"/>
                <a:gd name="T24" fmla="*/ 118 w 740"/>
                <a:gd name="T25" fmla="*/ 338 h 684"/>
                <a:gd name="T26" fmla="*/ 88 w 740"/>
                <a:gd name="T27" fmla="*/ 372 h 684"/>
                <a:gd name="T28" fmla="*/ 62 w 740"/>
                <a:gd name="T29" fmla="*/ 416 h 684"/>
                <a:gd name="T30" fmla="*/ 82 w 740"/>
                <a:gd name="T31" fmla="*/ 442 h 684"/>
                <a:gd name="T32" fmla="*/ 74 w 740"/>
                <a:gd name="T33" fmla="*/ 502 h 684"/>
                <a:gd name="T34" fmla="*/ 82 w 740"/>
                <a:gd name="T35" fmla="*/ 552 h 684"/>
                <a:gd name="T36" fmla="*/ 134 w 740"/>
                <a:gd name="T37" fmla="*/ 562 h 684"/>
                <a:gd name="T38" fmla="*/ 176 w 740"/>
                <a:gd name="T39" fmla="*/ 572 h 684"/>
                <a:gd name="T40" fmla="*/ 210 w 740"/>
                <a:gd name="T41" fmla="*/ 596 h 684"/>
                <a:gd name="T42" fmla="*/ 230 w 740"/>
                <a:gd name="T43" fmla="*/ 640 h 684"/>
                <a:gd name="T44" fmla="*/ 252 w 740"/>
                <a:gd name="T45" fmla="*/ 676 h 684"/>
                <a:gd name="T46" fmla="*/ 284 w 740"/>
                <a:gd name="T47" fmla="*/ 666 h 684"/>
                <a:gd name="T48" fmla="*/ 326 w 740"/>
                <a:gd name="T49" fmla="*/ 632 h 684"/>
                <a:gd name="T50" fmla="*/ 372 w 740"/>
                <a:gd name="T51" fmla="*/ 632 h 684"/>
                <a:gd name="T52" fmla="*/ 422 w 740"/>
                <a:gd name="T53" fmla="*/ 648 h 684"/>
                <a:gd name="T54" fmla="*/ 466 w 740"/>
                <a:gd name="T55" fmla="*/ 648 h 684"/>
                <a:gd name="T56" fmla="*/ 514 w 740"/>
                <a:gd name="T57" fmla="*/ 632 h 684"/>
                <a:gd name="T58" fmla="*/ 514 w 740"/>
                <a:gd name="T59" fmla="*/ 684 h 684"/>
                <a:gd name="T60" fmla="*/ 548 w 740"/>
                <a:gd name="T61" fmla="*/ 666 h 684"/>
                <a:gd name="T62" fmla="*/ 562 w 740"/>
                <a:gd name="T63" fmla="*/ 614 h 684"/>
                <a:gd name="T64" fmla="*/ 590 w 740"/>
                <a:gd name="T65" fmla="*/ 562 h 684"/>
                <a:gd name="T66" fmla="*/ 624 w 740"/>
                <a:gd name="T67" fmla="*/ 536 h 684"/>
                <a:gd name="T68" fmla="*/ 650 w 740"/>
                <a:gd name="T69" fmla="*/ 492 h 684"/>
                <a:gd name="T70" fmla="*/ 684 w 740"/>
                <a:gd name="T71" fmla="*/ 468 h 684"/>
                <a:gd name="T72" fmla="*/ 704 w 740"/>
                <a:gd name="T73" fmla="*/ 416 h 684"/>
                <a:gd name="T74" fmla="*/ 710 w 740"/>
                <a:gd name="T75" fmla="*/ 362 h 684"/>
                <a:gd name="T76" fmla="*/ 704 w 740"/>
                <a:gd name="T77" fmla="*/ 310 h 684"/>
                <a:gd name="T78" fmla="*/ 710 w 740"/>
                <a:gd name="T79" fmla="*/ 258 h 684"/>
                <a:gd name="T80" fmla="*/ 704 w 740"/>
                <a:gd name="T81" fmla="*/ 206 h 684"/>
                <a:gd name="T82" fmla="*/ 724 w 740"/>
                <a:gd name="T83" fmla="*/ 164 h 684"/>
                <a:gd name="T84" fmla="*/ 726 w 740"/>
                <a:gd name="T85" fmla="*/ 146 h 684"/>
                <a:gd name="T86" fmla="*/ 664 w 740"/>
                <a:gd name="T87" fmla="*/ 156 h 684"/>
                <a:gd name="T88" fmla="*/ 604 w 740"/>
                <a:gd name="T89" fmla="*/ 146 h 684"/>
                <a:gd name="T90" fmla="*/ 536 w 740"/>
                <a:gd name="T91" fmla="*/ 146 h 684"/>
                <a:gd name="T92" fmla="*/ 482 w 740"/>
                <a:gd name="T93" fmla="*/ 146 h 684"/>
                <a:gd name="T94" fmla="*/ 414 w 740"/>
                <a:gd name="T95" fmla="*/ 146 h 684"/>
                <a:gd name="T96" fmla="*/ 354 w 740"/>
                <a:gd name="T97" fmla="*/ 138 h 684"/>
                <a:gd name="T98" fmla="*/ 314 w 740"/>
                <a:gd name="T99" fmla="*/ 138 h 684"/>
                <a:gd name="T100" fmla="*/ 286 w 740"/>
                <a:gd name="T101" fmla="*/ 104 h 684"/>
                <a:gd name="T102" fmla="*/ 252 w 740"/>
                <a:gd name="T103" fmla="*/ 70 h 684"/>
                <a:gd name="T104" fmla="*/ 238 w 740"/>
                <a:gd name="T105" fmla="*/ 16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0" h="684">
                  <a:moveTo>
                    <a:pt x="230" y="0"/>
                  </a:moveTo>
                  <a:lnTo>
                    <a:pt x="214" y="16"/>
                  </a:lnTo>
                  <a:lnTo>
                    <a:pt x="210" y="34"/>
                  </a:lnTo>
                  <a:lnTo>
                    <a:pt x="202" y="52"/>
                  </a:lnTo>
                  <a:lnTo>
                    <a:pt x="202" y="70"/>
                  </a:lnTo>
                  <a:lnTo>
                    <a:pt x="196" y="76"/>
                  </a:lnTo>
                  <a:lnTo>
                    <a:pt x="182" y="76"/>
                  </a:lnTo>
                  <a:lnTo>
                    <a:pt x="162" y="86"/>
                  </a:lnTo>
                  <a:lnTo>
                    <a:pt x="142" y="86"/>
                  </a:lnTo>
                  <a:lnTo>
                    <a:pt x="128" y="86"/>
                  </a:lnTo>
                  <a:lnTo>
                    <a:pt x="108" y="76"/>
                  </a:lnTo>
                  <a:lnTo>
                    <a:pt x="88" y="76"/>
                  </a:lnTo>
                  <a:lnTo>
                    <a:pt x="68" y="86"/>
                  </a:lnTo>
                  <a:lnTo>
                    <a:pt x="54" y="86"/>
                  </a:lnTo>
                  <a:lnTo>
                    <a:pt x="34" y="86"/>
                  </a:lnTo>
                  <a:lnTo>
                    <a:pt x="20" y="86"/>
                  </a:lnTo>
                  <a:lnTo>
                    <a:pt x="8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94"/>
                  </a:lnTo>
                  <a:lnTo>
                    <a:pt x="0" y="114"/>
                  </a:lnTo>
                  <a:lnTo>
                    <a:pt x="8" y="130"/>
                  </a:lnTo>
                  <a:lnTo>
                    <a:pt x="14" y="148"/>
                  </a:lnTo>
                  <a:lnTo>
                    <a:pt x="8" y="164"/>
                  </a:lnTo>
                  <a:lnTo>
                    <a:pt x="0" y="182"/>
                  </a:lnTo>
                  <a:lnTo>
                    <a:pt x="8" y="198"/>
                  </a:lnTo>
                  <a:lnTo>
                    <a:pt x="22" y="218"/>
                  </a:lnTo>
                  <a:lnTo>
                    <a:pt x="36" y="224"/>
                  </a:lnTo>
                  <a:lnTo>
                    <a:pt x="48" y="234"/>
                  </a:lnTo>
                  <a:lnTo>
                    <a:pt x="62" y="242"/>
                  </a:lnTo>
                  <a:lnTo>
                    <a:pt x="76" y="234"/>
                  </a:lnTo>
                  <a:lnTo>
                    <a:pt x="82" y="250"/>
                  </a:lnTo>
                  <a:lnTo>
                    <a:pt x="96" y="250"/>
                  </a:lnTo>
                  <a:lnTo>
                    <a:pt x="110" y="250"/>
                  </a:lnTo>
                  <a:lnTo>
                    <a:pt x="102" y="268"/>
                  </a:lnTo>
                  <a:lnTo>
                    <a:pt x="102" y="286"/>
                  </a:lnTo>
                  <a:lnTo>
                    <a:pt x="110" y="304"/>
                  </a:lnTo>
                  <a:lnTo>
                    <a:pt x="118" y="320"/>
                  </a:lnTo>
                  <a:lnTo>
                    <a:pt x="118" y="338"/>
                  </a:lnTo>
                  <a:lnTo>
                    <a:pt x="110" y="356"/>
                  </a:lnTo>
                  <a:lnTo>
                    <a:pt x="96" y="364"/>
                  </a:lnTo>
                  <a:lnTo>
                    <a:pt x="88" y="372"/>
                  </a:lnTo>
                  <a:lnTo>
                    <a:pt x="82" y="380"/>
                  </a:lnTo>
                  <a:lnTo>
                    <a:pt x="76" y="398"/>
                  </a:lnTo>
                  <a:lnTo>
                    <a:pt x="62" y="416"/>
                  </a:lnTo>
                  <a:lnTo>
                    <a:pt x="60" y="416"/>
                  </a:lnTo>
                  <a:lnTo>
                    <a:pt x="68" y="422"/>
                  </a:lnTo>
                  <a:lnTo>
                    <a:pt x="82" y="442"/>
                  </a:lnTo>
                  <a:lnTo>
                    <a:pt x="82" y="458"/>
                  </a:lnTo>
                  <a:lnTo>
                    <a:pt x="74" y="474"/>
                  </a:lnTo>
                  <a:lnTo>
                    <a:pt x="74" y="502"/>
                  </a:lnTo>
                  <a:lnTo>
                    <a:pt x="68" y="520"/>
                  </a:lnTo>
                  <a:lnTo>
                    <a:pt x="74" y="536"/>
                  </a:lnTo>
                  <a:lnTo>
                    <a:pt x="82" y="552"/>
                  </a:lnTo>
                  <a:lnTo>
                    <a:pt x="102" y="562"/>
                  </a:lnTo>
                  <a:lnTo>
                    <a:pt x="122" y="562"/>
                  </a:lnTo>
                  <a:lnTo>
                    <a:pt x="134" y="562"/>
                  </a:lnTo>
                  <a:lnTo>
                    <a:pt x="150" y="572"/>
                  </a:lnTo>
                  <a:lnTo>
                    <a:pt x="162" y="572"/>
                  </a:lnTo>
                  <a:lnTo>
                    <a:pt x="176" y="572"/>
                  </a:lnTo>
                  <a:lnTo>
                    <a:pt x="190" y="572"/>
                  </a:lnTo>
                  <a:lnTo>
                    <a:pt x="210" y="580"/>
                  </a:lnTo>
                  <a:lnTo>
                    <a:pt x="210" y="596"/>
                  </a:lnTo>
                  <a:lnTo>
                    <a:pt x="210" y="614"/>
                  </a:lnTo>
                  <a:lnTo>
                    <a:pt x="218" y="632"/>
                  </a:lnTo>
                  <a:lnTo>
                    <a:pt x="230" y="640"/>
                  </a:lnTo>
                  <a:lnTo>
                    <a:pt x="244" y="640"/>
                  </a:lnTo>
                  <a:lnTo>
                    <a:pt x="252" y="658"/>
                  </a:lnTo>
                  <a:lnTo>
                    <a:pt x="252" y="676"/>
                  </a:lnTo>
                  <a:lnTo>
                    <a:pt x="256" y="676"/>
                  </a:lnTo>
                  <a:lnTo>
                    <a:pt x="272" y="676"/>
                  </a:lnTo>
                  <a:lnTo>
                    <a:pt x="284" y="666"/>
                  </a:lnTo>
                  <a:lnTo>
                    <a:pt x="298" y="658"/>
                  </a:lnTo>
                  <a:lnTo>
                    <a:pt x="312" y="640"/>
                  </a:lnTo>
                  <a:lnTo>
                    <a:pt x="326" y="632"/>
                  </a:lnTo>
                  <a:lnTo>
                    <a:pt x="340" y="632"/>
                  </a:lnTo>
                  <a:lnTo>
                    <a:pt x="360" y="632"/>
                  </a:lnTo>
                  <a:lnTo>
                    <a:pt x="372" y="632"/>
                  </a:lnTo>
                  <a:lnTo>
                    <a:pt x="386" y="640"/>
                  </a:lnTo>
                  <a:lnTo>
                    <a:pt x="406" y="648"/>
                  </a:lnTo>
                  <a:lnTo>
                    <a:pt x="422" y="648"/>
                  </a:lnTo>
                  <a:lnTo>
                    <a:pt x="440" y="648"/>
                  </a:lnTo>
                  <a:lnTo>
                    <a:pt x="452" y="648"/>
                  </a:lnTo>
                  <a:lnTo>
                    <a:pt x="466" y="648"/>
                  </a:lnTo>
                  <a:lnTo>
                    <a:pt x="488" y="640"/>
                  </a:lnTo>
                  <a:lnTo>
                    <a:pt x="502" y="640"/>
                  </a:lnTo>
                  <a:lnTo>
                    <a:pt x="514" y="632"/>
                  </a:lnTo>
                  <a:lnTo>
                    <a:pt x="514" y="648"/>
                  </a:lnTo>
                  <a:lnTo>
                    <a:pt x="514" y="666"/>
                  </a:lnTo>
                  <a:lnTo>
                    <a:pt x="514" y="684"/>
                  </a:lnTo>
                  <a:lnTo>
                    <a:pt x="528" y="684"/>
                  </a:lnTo>
                  <a:lnTo>
                    <a:pt x="542" y="684"/>
                  </a:lnTo>
                  <a:lnTo>
                    <a:pt x="548" y="666"/>
                  </a:lnTo>
                  <a:lnTo>
                    <a:pt x="542" y="648"/>
                  </a:lnTo>
                  <a:lnTo>
                    <a:pt x="548" y="632"/>
                  </a:lnTo>
                  <a:lnTo>
                    <a:pt x="562" y="614"/>
                  </a:lnTo>
                  <a:lnTo>
                    <a:pt x="568" y="596"/>
                  </a:lnTo>
                  <a:lnTo>
                    <a:pt x="582" y="580"/>
                  </a:lnTo>
                  <a:lnTo>
                    <a:pt x="590" y="562"/>
                  </a:lnTo>
                  <a:lnTo>
                    <a:pt x="596" y="544"/>
                  </a:lnTo>
                  <a:lnTo>
                    <a:pt x="610" y="544"/>
                  </a:lnTo>
                  <a:lnTo>
                    <a:pt x="624" y="536"/>
                  </a:lnTo>
                  <a:lnTo>
                    <a:pt x="638" y="526"/>
                  </a:lnTo>
                  <a:lnTo>
                    <a:pt x="638" y="510"/>
                  </a:lnTo>
                  <a:lnTo>
                    <a:pt x="650" y="492"/>
                  </a:lnTo>
                  <a:lnTo>
                    <a:pt x="662" y="484"/>
                  </a:lnTo>
                  <a:lnTo>
                    <a:pt x="678" y="484"/>
                  </a:lnTo>
                  <a:lnTo>
                    <a:pt x="684" y="468"/>
                  </a:lnTo>
                  <a:lnTo>
                    <a:pt x="684" y="450"/>
                  </a:lnTo>
                  <a:lnTo>
                    <a:pt x="690" y="432"/>
                  </a:lnTo>
                  <a:lnTo>
                    <a:pt x="704" y="416"/>
                  </a:lnTo>
                  <a:lnTo>
                    <a:pt x="704" y="398"/>
                  </a:lnTo>
                  <a:lnTo>
                    <a:pt x="704" y="380"/>
                  </a:lnTo>
                  <a:lnTo>
                    <a:pt x="710" y="362"/>
                  </a:lnTo>
                  <a:lnTo>
                    <a:pt x="710" y="346"/>
                  </a:lnTo>
                  <a:lnTo>
                    <a:pt x="704" y="328"/>
                  </a:lnTo>
                  <a:lnTo>
                    <a:pt x="704" y="310"/>
                  </a:lnTo>
                  <a:lnTo>
                    <a:pt x="704" y="294"/>
                  </a:lnTo>
                  <a:lnTo>
                    <a:pt x="704" y="278"/>
                  </a:lnTo>
                  <a:lnTo>
                    <a:pt x="710" y="258"/>
                  </a:lnTo>
                  <a:lnTo>
                    <a:pt x="704" y="242"/>
                  </a:lnTo>
                  <a:lnTo>
                    <a:pt x="704" y="224"/>
                  </a:lnTo>
                  <a:lnTo>
                    <a:pt x="704" y="206"/>
                  </a:lnTo>
                  <a:lnTo>
                    <a:pt x="710" y="198"/>
                  </a:lnTo>
                  <a:lnTo>
                    <a:pt x="718" y="180"/>
                  </a:lnTo>
                  <a:lnTo>
                    <a:pt x="724" y="164"/>
                  </a:lnTo>
                  <a:lnTo>
                    <a:pt x="740" y="146"/>
                  </a:lnTo>
                  <a:lnTo>
                    <a:pt x="740" y="146"/>
                  </a:lnTo>
                  <a:lnTo>
                    <a:pt x="726" y="146"/>
                  </a:lnTo>
                  <a:lnTo>
                    <a:pt x="706" y="146"/>
                  </a:lnTo>
                  <a:lnTo>
                    <a:pt x="686" y="156"/>
                  </a:lnTo>
                  <a:lnTo>
                    <a:pt x="664" y="156"/>
                  </a:lnTo>
                  <a:lnTo>
                    <a:pt x="646" y="156"/>
                  </a:lnTo>
                  <a:lnTo>
                    <a:pt x="624" y="156"/>
                  </a:lnTo>
                  <a:lnTo>
                    <a:pt x="604" y="146"/>
                  </a:lnTo>
                  <a:lnTo>
                    <a:pt x="584" y="146"/>
                  </a:lnTo>
                  <a:lnTo>
                    <a:pt x="556" y="146"/>
                  </a:lnTo>
                  <a:lnTo>
                    <a:pt x="536" y="146"/>
                  </a:lnTo>
                  <a:lnTo>
                    <a:pt x="516" y="146"/>
                  </a:lnTo>
                  <a:lnTo>
                    <a:pt x="502" y="146"/>
                  </a:lnTo>
                  <a:lnTo>
                    <a:pt x="482" y="146"/>
                  </a:lnTo>
                  <a:lnTo>
                    <a:pt x="462" y="146"/>
                  </a:lnTo>
                  <a:lnTo>
                    <a:pt x="436" y="146"/>
                  </a:lnTo>
                  <a:lnTo>
                    <a:pt x="414" y="146"/>
                  </a:lnTo>
                  <a:lnTo>
                    <a:pt x="394" y="146"/>
                  </a:lnTo>
                  <a:lnTo>
                    <a:pt x="374" y="146"/>
                  </a:lnTo>
                  <a:lnTo>
                    <a:pt x="354" y="138"/>
                  </a:lnTo>
                  <a:lnTo>
                    <a:pt x="340" y="138"/>
                  </a:lnTo>
                  <a:lnTo>
                    <a:pt x="326" y="146"/>
                  </a:lnTo>
                  <a:lnTo>
                    <a:pt x="314" y="138"/>
                  </a:lnTo>
                  <a:lnTo>
                    <a:pt x="306" y="122"/>
                  </a:lnTo>
                  <a:lnTo>
                    <a:pt x="292" y="122"/>
                  </a:lnTo>
                  <a:lnTo>
                    <a:pt x="286" y="104"/>
                  </a:lnTo>
                  <a:lnTo>
                    <a:pt x="272" y="86"/>
                  </a:lnTo>
                  <a:lnTo>
                    <a:pt x="258" y="86"/>
                  </a:lnTo>
                  <a:lnTo>
                    <a:pt x="252" y="70"/>
                  </a:lnTo>
                  <a:lnTo>
                    <a:pt x="252" y="52"/>
                  </a:lnTo>
                  <a:lnTo>
                    <a:pt x="244" y="34"/>
                  </a:lnTo>
                  <a:lnTo>
                    <a:pt x="238" y="16"/>
                  </a:lnTo>
                  <a:lnTo>
                    <a:pt x="232" y="8"/>
                  </a:lnTo>
                  <a:lnTo>
                    <a:pt x="230" y="0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59"/>
            <p:cNvSpPr>
              <a:spLocks/>
            </p:cNvSpPr>
            <p:nvPr/>
          </p:nvSpPr>
          <p:spPr bwMode="auto">
            <a:xfrm>
              <a:off x="3966337" y="2707274"/>
              <a:ext cx="343809" cy="233192"/>
            </a:xfrm>
            <a:custGeom>
              <a:avLst/>
              <a:gdLst>
                <a:gd name="T0" fmla="*/ 230 w 230"/>
                <a:gd name="T1" fmla="*/ 130 h 156"/>
                <a:gd name="T2" fmla="*/ 230 w 230"/>
                <a:gd name="T3" fmla="*/ 120 h 156"/>
                <a:gd name="T4" fmla="*/ 230 w 230"/>
                <a:gd name="T5" fmla="*/ 104 h 156"/>
                <a:gd name="T6" fmla="*/ 230 w 230"/>
                <a:gd name="T7" fmla="*/ 86 h 156"/>
                <a:gd name="T8" fmla="*/ 222 w 230"/>
                <a:gd name="T9" fmla="*/ 70 h 156"/>
                <a:gd name="T10" fmla="*/ 216 w 230"/>
                <a:gd name="T11" fmla="*/ 52 h 156"/>
                <a:gd name="T12" fmla="*/ 204 w 230"/>
                <a:gd name="T13" fmla="*/ 42 h 156"/>
                <a:gd name="T14" fmla="*/ 190 w 230"/>
                <a:gd name="T15" fmla="*/ 34 h 156"/>
                <a:gd name="T16" fmla="*/ 176 w 230"/>
                <a:gd name="T17" fmla="*/ 34 h 156"/>
                <a:gd name="T18" fmla="*/ 162 w 230"/>
                <a:gd name="T19" fmla="*/ 26 h 156"/>
                <a:gd name="T20" fmla="*/ 148 w 230"/>
                <a:gd name="T21" fmla="*/ 26 h 156"/>
                <a:gd name="T22" fmla="*/ 134 w 230"/>
                <a:gd name="T23" fmla="*/ 26 h 156"/>
                <a:gd name="T24" fmla="*/ 120 w 230"/>
                <a:gd name="T25" fmla="*/ 26 h 156"/>
                <a:gd name="T26" fmla="*/ 108 w 230"/>
                <a:gd name="T27" fmla="*/ 26 h 156"/>
                <a:gd name="T28" fmla="*/ 94 w 230"/>
                <a:gd name="T29" fmla="*/ 8 h 156"/>
                <a:gd name="T30" fmla="*/ 88 w 230"/>
                <a:gd name="T31" fmla="*/ 0 h 156"/>
                <a:gd name="T32" fmla="*/ 74 w 230"/>
                <a:gd name="T33" fmla="*/ 8 h 156"/>
                <a:gd name="T34" fmla="*/ 60 w 230"/>
                <a:gd name="T35" fmla="*/ 16 h 156"/>
                <a:gd name="T36" fmla="*/ 52 w 230"/>
                <a:gd name="T37" fmla="*/ 34 h 156"/>
                <a:gd name="T38" fmla="*/ 46 w 230"/>
                <a:gd name="T39" fmla="*/ 52 h 156"/>
                <a:gd name="T40" fmla="*/ 38 w 230"/>
                <a:gd name="T41" fmla="*/ 70 h 156"/>
                <a:gd name="T42" fmla="*/ 26 w 230"/>
                <a:gd name="T43" fmla="*/ 70 h 156"/>
                <a:gd name="T44" fmla="*/ 14 w 230"/>
                <a:gd name="T45" fmla="*/ 78 h 156"/>
                <a:gd name="T46" fmla="*/ 0 w 230"/>
                <a:gd name="T47" fmla="*/ 94 h 156"/>
                <a:gd name="T48" fmla="*/ 14 w 230"/>
                <a:gd name="T49" fmla="*/ 112 h 156"/>
                <a:gd name="T50" fmla="*/ 26 w 230"/>
                <a:gd name="T51" fmla="*/ 120 h 156"/>
                <a:gd name="T52" fmla="*/ 38 w 230"/>
                <a:gd name="T53" fmla="*/ 112 h 156"/>
                <a:gd name="T54" fmla="*/ 52 w 230"/>
                <a:gd name="T55" fmla="*/ 112 h 156"/>
                <a:gd name="T56" fmla="*/ 66 w 230"/>
                <a:gd name="T57" fmla="*/ 104 h 156"/>
                <a:gd name="T58" fmla="*/ 80 w 230"/>
                <a:gd name="T59" fmla="*/ 94 h 156"/>
                <a:gd name="T60" fmla="*/ 88 w 230"/>
                <a:gd name="T61" fmla="*/ 112 h 156"/>
                <a:gd name="T62" fmla="*/ 74 w 230"/>
                <a:gd name="T63" fmla="*/ 120 h 156"/>
                <a:gd name="T64" fmla="*/ 74 w 230"/>
                <a:gd name="T65" fmla="*/ 138 h 156"/>
                <a:gd name="T66" fmla="*/ 88 w 230"/>
                <a:gd name="T67" fmla="*/ 148 h 156"/>
                <a:gd name="T68" fmla="*/ 102 w 230"/>
                <a:gd name="T69" fmla="*/ 138 h 156"/>
                <a:gd name="T70" fmla="*/ 114 w 230"/>
                <a:gd name="T71" fmla="*/ 148 h 156"/>
                <a:gd name="T72" fmla="*/ 128 w 230"/>
                <a:gd name="T73" fmla="*/ 156 h 156"/>
                <a:gd name="T74" fmla="*/ 134 w 230"/>
                <a:gd name="T75" fmla="*/ 148 h 156"/>
                <a:gd name="T76" fmla="*/ 134 w 230"/>
                <a:gd name="T77" fmla="*/ 130 h 156"/>
                <a:gd name="T78" fmla="*/ 148 w 230"/>
                <a:gd name="T79" fmla="*/ 120 h 156"/>
                <a:gd name="T80" fmla="*/ 162 w 230"/>
                <a:gd name="T81" fmla="*/ 130 h 156"/>
                <a:gd name="T82" fmla="*/ 176 w 230"/>
                <a:gd name="T83" fmla="*/ 130 h 156"/>
                <a:gd name="T84" fmla="*/ 190 w 230"/>
                <a:gd name="T85" fmla="*/ 120 h 156"/>
                <a:gd name="T86" fmla="*/ 204 w 230"/>
                <a:gd name="T87" fmla="*/ 138 h 156"/>
                <a:gd name="T88" fmla="*/ 216 w 230"/>
                <a:gd name="T89" fmla="*/ 138 h 156"/>
                <a:gd name="T90" fmla="*/ 230 w 230"/>
                <a:gd name="T91" fmla="*/ 13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0" h="156">
                  <a:moveTo>
                    <a:pt x="230" y="130"/>
                  </a:moveTo>
                  <a:lnTo>
                    <a:pt x="230" y="120"/>
                  </a:lnTo>
                  <a:lnTo>
                    <a:pt x="230" y="104"/>
                  </a:lnTo>
                  <a:lnTo>
                    <a:pt x="230" y="86"/>
                  </a:lnTo>
                  <a:lnTo>
                    <a:pt x="222" y="70"/>
                  </a:lnTo>
                  <a:lnTo>
                    <a:pt x="216" y="52"/>
                  </a:lnTo>
                  <a:lnTo>
                    <a:pt x="204" y="42"/>
                  </a:lnTo>
                  <a:lnTo>
                    <a:pt x="190" y="34"/>
                  </a:lnTo>
                  <a:lnTo>
                    <a:pt x="176" y="34"/>
                  </a:lnTo>
                  <a:lnTo>
                    <a:pt x="162" y="26"/>
                  </a:lnTo>
                  <a:lnTo>
                    <a:pt x="148" y="26"/>
                  </a:lnTo>
                  <a:lnTo>
                    <a:pt x="134" y="26"/>
                  </a:lnTo>
                  <a:lnTo>
                    <a:pt x="120" y="26"/>
                  </a:lnTo>
                  <a:lnTo>
                    <a:pt x="108" y="26"/>
                  </a:lnTo>
                  <a:lnTo>
                    <a:pt x="94" y="8"/>
                  </a:lnTo>
                  <a:lnTo>
                    <a:pt x="88" y="0"/>
                  </a:lnTo>
                  <a:lnTo>
                    <a:pt x="74" y="8"/>
                  </a:lnTo>
                  <a:lnTo>
                    <a:pt x="60" y="16"/>
                  </a:lnTo>
                  <a:lnTo>
                    <a:pt x="52" y="34"/>
                  </a:lnTo>
                  <a:lnTo>
                    <a:pt x="46" y="52"/>
                  </a:lnTo>
                  <a:lnTo>
                    <a:pt x="38" y="70"/>
                  </a:lnTo>
                  <a:lnTo>
                    <a:pt x="26" y="70"/>
                  </a:lnTo>
                  <a:lnTo>
                    <a:pt x="14" y="78"/>
                  </a:lnTo>
                  <a:lnTo>
                    <a:pt x="0" y="94"/>
                  </a:lnTo>
                  <a:lnTo>
                    <a:pt x="14" y="112"/>
                  </a:lnTo>
                  <a:lnTo>
                    <a:pt x="26" y="120"/>
                  </a:lnTo>
                  <a:lnTo>
                    <a:pt x="38" y="112"/>
                  </a:lnTo>
                  <a:lnTo>
                    <a:pt x="52" y="112"/>
                  </a:lnTo>
                  <a:lnTo>
                    <a:pt x="66" y="104"/>
                  </a:lnTo>
                  <a:lnTo>
                    <a:pt x="80" y="94"/>
                  </a:lnTo>
                  <a:lnTo>
                    <a:pt x="88" y="112"/>
                  </a:lnTo>
                  <a:lnTo>
                    <a:pt x="74" y="120"/>
                  </a:lnTo>
                  <a:lnTo>
                    <a:pt x="74" y="138"/>
                  </a:lnTo>
                  <a:lnTo>
                    <a:pt x="88" y="148"/>
                  </a:lnTo>
                  <a:lnTo>
                    <a:pt x="102" y="138"/>
                  </a:lnTo>
                  <a:lnTo>
                    <a:pt x="114" y="148"/>
                  </a:lnTo>
                  <a:lnTo>
                    <a:pt x="128" y="156"/>
                  </a:lnTo>
                  <a:lnTo>
                    <a:pt x="134" y="148"/>
                  </a:lnTo>
                  <a:lnTo>
                    <a:pt x="134" y="130"/>
                  </a:lnTo>
                  <a:lnTo>
                    <a:pt x="148" y="120"/>
                  </a:lnTo>
                  <a:lnTo>
                    <a:pt x="162" y="130"/>
                  </a:lnTo>
                  <a:lnTo>
                    <a:pt x="176" y="130"/>
                  </a:lnTo>
                  <a:lnTo>
                    <a:pt x="190" y="120"/>
                  </a:lnTo>
                  <a:lnTo>
                    <a:pt x="204" y="138"/>
                  </a:lnTo>
                  <a:lnTo>
                    <a:pt x="216" y="138"/>
                  </a:lnTo>
                  <a:lnTo>
                    <a:pt x="230" y="130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62"/>
            <p:cNvSpPr>
              <a:spLocks/>
            </p:cNvSpPr>
            <p:nvPr/>
          </p:nvSpPr>
          <p:spPr bwMode="auto">
            <a:xfrm>
              <a:off x="3993244" y="3131803"/>
              <a:ext cx="307933" cy="263088"/>
            </a:xfrm>
            <a:custGeom>
              <a:avLst/>
              <a:gdLst>
                <a:gd name="T0" fmla="*/ 2 w 206"/>
                <a:gd name="T1" fmla="*/ 28 h 176"/>
                <a:gd name="T2" fmla="*/ 16 w 206"/>
                <a:gd name="T3" fmla="*/ 8 h 176"/>
                <a:gd name="T4" fmla="*/ 28 w 206"/>
                <a:gd name="T5" fmla="*/ 8 h 176"/>
                <a:gd name="T6" fmla="*/ 42 w 206"/>
                <a:gd name="T7" fmla="*/ 8 h 176"/>
                <a:gd name="T8" fmla="*/ 56 w 206"/>
                <a:gd name="T9" fmla="*/ 28 h 176"/>
                <a:gd name="T10" fmla="*/ 70 w 206"/>
                <a:gd name="T11" fmla="*/ 36 h 176"/>
                <a:gd name="T12" fmla="*/ 84 w 206"/>
                <a:gd name="T13" fmla="*/ 36 h 176"/>
                <a:gd name="T14" fmla="*/ 98 w 206"/>
                <a:gd name="T15" fmla="*/ 36 h 176"/>
                <a:gd name="T16" fmla="*/ 112 w 206"/>
                <a:gd name="T17" fmla="*/ 36 h 176"/>
                <a:gd name="T18" fmla="*/ 124 w 206"/>
                <a:gd name="T19" fmla="*/ 28 h 176"/>
                <a:gd name="T20" fmla="*/ 138 w 206"/>
                <a:gd name="T21" fmla="*/ 18 h 176"/>
                <a:gd name="T22" fmla="*/ 150 w 206"/>
                <a:gd name="T23" fmla="*/ 0 h 176"/>
                <a:gd name="T24" fmla="*/ 164 w 206"/>
                <a:gd name="T25" fmla="*/ 0 h 176"/>
                <a:gd name="T26" fmla="*/ 178 w 206"/>
                <a:gd name="T27" fmla="*/ 0 h 176"/>
                <a:gd name="T28" fmla="*/ 192 w 206"/>
                <a:gd name="T29" fmla="*/ 0 h 176"/>
                <a:gd name="T30" fmla="*/ 206 w 206"/>
                <a:gd name="T31" fmla="*/ 8 h 176"/>
                <a:gd name="T32" fmla="*/ 204 w 206"/>
                <a:gd name="T33" fmla="*/ 12 h 176"/>
                <a:gd name="T34" fmla="*/ 200 w 206"/>
                <a:gd name="T35" fmla="*/ 18 h 176"/>
                <a:gd name="T36" fmla="*/ 186 w 206"/>
                <a:gd name="T37" fmla="*/ 38 h 176"/>
                <a:gd name="T38" fmla="*/ 172 w 206"/>
                <a:gd name="T39" fmla="*/ 54 h 176"/>
                <a:gd name="T40" fmla="*/ 158 w 206"/>
                <a:gd name="T41" fmla="*/ 64 h 176"/>
                <a:gd name="T42" fmla="*/ 144 w 206"/>
                <a:gd name="T43" fmla="*/ 82 h 176"/>
                <a:gd name="T44" fmla="*/ 130 w 206"/>
                <a:gd name="T45" fmla="*/ 90 h 176"/>
                <a:gd name="T46" fmla="*/ 124 w 206"/>
                <a:gd name="T47" fmla="*/ 106 h 176"/>
                <a:gd name="T48" fmla="*/ 110 w 206"/>
                <a:gd name="T49" fmla="*/ 116 h 176"/>
                <a:gd name="T50" fmla="*/ 112 w 206"/>
                <a:gd name="T51" fmla="*/ 118 h 176"/>
                <a:gd name="T52" fmla="*/ 104 w 206"/>
                <a:gd name="T53" fmla="*/ 124 h 176"/>
                <a:gd name="T54" fmla="*/ 90 w 206"/>
                <a:gd name="T55" fmla="*/ 128 h 176"/>
                <a:gd name="T56" fmla="*/ 78 w 206"/>
                <a:gd name="T57" fmla="*/ 140 h 176"/>
                <a:gd name="T58" fmla="*/ 62 w 206"/>
                <a:gd name="T59" fmla="*/ 160 h 176"/>
                <a:gd name="T60" fmla="*/ 56 w 206"/>
                <a:gd name="T61" fmla="*/ 176 h 176"/>
                <a:gd name="T62" fmla="*/ 52 w 206"/>
                <a:gd name="T63" fmla="*/ 176 h 176"/>
                <a:gd name="T64" fmla="*/ 48 w 206"/>
                <a:gd name="T65" fmla="*/ 176 h 176"/>
                <a:gd name="T66" fmla="*/ 34 w 206"/>
                <a:gd name="T67" fmla="*/ 176 h 176"/>
                <a:gd name="T68" fmla="*/ 22 w 206"/>
                <a:gd name="T69" fmla="*/ 168 h 176"/>
                <a:gd name="T70" fmla="*/ 8 w 206"/>
                <a:gd name="T71" fmla="*/ 160 h 176"/>
                <a:gd name="T72" fmla="*/ 0 w 206"/>
                <a:gd name="T73" fmla="*/ 140 h 176"/>
                <a:gd name="T74" fmla="*/ 0 w 206"/>
                <a:gd name="T75" fmla="*/ 124 h 176"/>
                <a:gd name="T76" fmla="*/ 14 w 206"/>
                <a:gd name="T77" fmla="*/ 124 h 176"/>
                <a:gd name="T78" fmla="*/ 22 w 206"/>
                <a:gd name="T79" fmla="*/ 106 h 176"/>
                <a:gd name="T80" fmla="*/ 28 w 206"/>
                <a:gd name="T81" fmla="*/ 90 h 176"/>
                <a:gd name="T82" fmla="*/ 28 w 206"/>
                <a:gd name="T83" fmla="*/ 72 h 176"/>
                <a:gd name="T84" fmla="*/ 14 w 206"/>
                <a:gd name="T85" fmla="*/ 64 h 176"/>
                <a:gd name="T86" fmla="*/ 0 w 206"/>
                <a:gd name="T87" fmla="*/ 32 h 176"/>
                <a:gd name="T88" fmla="*/ 2 w 206"/>
                <a:gd name="T89" fmla="*/ 2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" h="176">
                  <a:moveTo>
                    <a:pt x="2" y="28"/>
                  </a:moveTo>
                  <a:lnTo>
                    <a:pt x="16" y="8"/>
                  </a:lnTo>
                  <a:lnTo>
                    <a:pt x="28" y="8"/>
                  </a:lnTo>
                  <a:lnTo>
                    <a:pt x="42" y="8"/>
                  </a:lnTo>
                  <a:lnTo>
                    <a:pt x="56" y="28"/>
                  </a:lnTo>
                  <a:lnTo>
                    <a:pt x="70" y="36"/>
                  </a:lnTo>
                  <a:lnTo>
                    <a:pt x="84" y="36"/>
                  </a:lnTo>
                  <a:lnTo>
                    <a:pt x="98" y="36"/>
                  </a:lnTo>
                  <a:lnTo>
                    <a:pt x="112" y="36"/>
                  </a:lnTo>
                  <a:lnTo>
                    <a:pt x="124" y="28"/>
                  </a:lnTo>
                  <a:lnTo>
                    <a:pt x="138" y="18"/>
                  </a:lnTo>
                  <a:lnTo>
                    <a:pt x="150" y="0"/>
                  </a:lnTo>
                  <a:lnTo>
                    <a:pt x="164" y="0"/>
                  </a:lnTo>
                  <a:lnTo>
                    <a:pt x="178" y="0"/>
                  </a:lnTo>
                  <a:lnTo>
                    <a:pt x="192" y="0"/>
                  </a:lnTo>
                  <a:lnTo>
                    <a:pt x="206" y="8"/>
                  </a:lnTo>
                  <a:lnTo>
                    <a:pt x="204" y="12"/>
                  </a:lnTo>
                  <a:lnTo>
                    <a:pt x="200" y="18"/>
                  </a:lnTo>
                  <a:lnTo>
                    <a:pt x="186" y="38"/>
                  </a:lnTo>
                  <a:lnTo>
                    <a:pt x="172" y="54"/>
                  </a:lnTo>
                  <a:lnTo>
                    <a:pt x="158" y="64"/>
                  </a:lnTo>
                  <a:lnTo>
                    <a:pt x="144" y="82"/>
                  </a:lnTo>
                  <a:lnTo>
                    <a:pt x="130" y="90"/>
                  </a:lnTo>
                  <a:lnTo>
                    <a:pt x="124" y="106"/>
                  </a:lnTo>
                  <a:lnTo>
                    <a:pt x="110" y="116"/>
                  </a:lnTo>
                  <a:lnTo>
                    <a:pt x="112" y="118"/>
                  </a:lnTo>
                  <a:lnTo>
                    <a:pt x="104" y="124"/>
                  </a:lnTo>
                  <a:lnTo>
                    <a:pt x="90" y="128"/>
                  </a:lnTo>
                  <a:lnTo>
                    <a:pt x="78" y="140"/>
                  </a:lnTo>
                  <a:lnTo>
                    <a:pt x="62" y="160"/>
                  </a:lnTo>
                  <a:lnTo>
                    <a:pt x="56" y="176"/>
                  </a:lnTo>
                  <a:lnTo>
                    <a:pt x="52" y="176"/>
                  </a:lnTo>
                  <a:lnTo>
                    <a:pt x="48" y="176"/>
                  </a:lnTo>
                  <a:lnTo>
                    <a:pt x="34" y="176"/>
                  </a:lnTo>
                  <a:lnTo>
                    <a:pt x="22" y="168"/>
                  </a:lnTo>
                  <a:lnTo>
                    <a:pt x="8" y="160"/>
                  </a:lnTo>
                  <a:lnTo>
                    <a:pt x="0" y="140"/>
                  </a:lnTo>
                  <a:lnTo>
                    <a:pt x="0" y="124"/>
                  </a:lnTo>
                  <a:lnTo>
                    <a:pt x="14" y="124"/>
                  </a:lnTo>
                  <a:lnTo>
                    <a:pt x="22" y="106"/>
                  </a:lnTo>
                  <a:lnTo>
                    <a:pt x="28" y="90"/>
                  </a:lnTo>
                  <a:lnTo>
                    <a:pt x="28" y="72"/>
                  </a:lnTo>
                  <a:lnTo>
                    <a:pt x="14" y="64"/>
                  </a:lnTo>
                  <a:lnTo>
                    <a:pt x="0" y="32"/>
                  </a:lnTo>
                  <a:lnTo>
                    <a:pt x="2" y="28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63"/>
            <p:cNvSpPr>
              <a:spLocks/>
            </p:cNvSpPr>
            <p:nvPr/>
          </p:nvSpPr>
          <p:spPr bwMode="auto">
            <a:xfrm>
              <a:off x="3993244" y="3131803"/>
              <a:ext cx="307933" cy="263088"/>
            </a:xfrm>
            <a:custGeom>
              <a:avLst/>
              <a:gdLst>
                <a:gd name="T0" fmla="*/ 2 w 206"/>
                <a:gd name="T1" fmla="*/ 28 h 176"/>
                <a:gd name="T2" fmla="*/ 16 w 206"/>
                <a:gd name="T3" fmla="*/ 8 h 176"/>
                <a:gd name="T4" fmla="*/ 28 w 206"/>
                <a:gd name="T5" fmla="*/ 8 h 176"/>
                <a:gd name="T6" fmla="*/ 42 w 206"/>
                <a:gd name="T7" fmla="*/ 8 h 176"/>
                <a:gd name="T8" fmla="*/ 56 w 206"/>
                <a:gd name="T9" fmla="*/ 28 h 176"/>
                <a:gd name="T10" fmla="*/ 70 w 206"/>
                <a:gd name="T11" fmla="*/ 36 h 176"/>
                <a:gd name="T12" fmla="*/ 84 w 206"/>
                <a:gd name="T13" fmla="*/ 36 h 176"/>
                <a:gd name="T14" fmla="*/ 98 w 206"/>
                <a:gd name="T15" fmla="*/ 36 h 176"/>
                <a:gd name="T16" fmla="*/ 112 w 206"/>
                <a:gd name="T17" fmla="*/ 36 h 176"/>
                <a:gd name="T18" fmla="*/ 124 w 206"/>
                <a:gd name="T19" fmla="*/ 28 h 176"/>
                <a:gd name="T20" fmla="*/ 138 w 206"/>
                <a:gd name="T21" fmla="*/ 18 h 176"/>
                <a:gd name="T22" fmla="*/ 150 w 206"/>
                <a:gd name="T23" fmla="*/ 0 h 176"/>
                <a:gd name="T24" fmla="*/ 164 w 206"/>
                <a:gd name="T25" fmla="*/ 0 h 176"/>
                <a:gd name="T26" fmla="*/ 178 w 206"/>
                <a:gd name="T27" fmla="*/ 0 h 176"/>
                <a:gd name="T28" fmla="*/ 192 w 206"/>
                <a:gd name="T29" fmla="*/ 0 h 176"/>
                <a:gd name="T30" fmla="*/ 206 w 206"/>
                <a:gd name="T31" fmla="*/ 8 h 176"/>
                <a:gd name="T32" fmla="*/ 204 w 206"/>
                <a:gd name="T33" fmla="*/ 12 h 176"/>
                <a:gd name="T34" fmla="*/ 200 w 206"/>
                <a:gd name="T35" fmla="*/ 18 h 176"/>
                <a:gd name="T36" fmla="*/ 186 w 206"/>
                <a:gd name="T37" fmla="*/ 38 h 176"/>
                <a:gd name="T38" fmla="*/ 172 w 206"/>
                <a:gd name="T39" fmla="*/ 54 h 176"/>
                <a:gd name="T40" fmla="*/ 158 w 206"/>
                <a:gd name="T41" fmla="*/ 64 h 176"/>
                <a:gd name="T42" fmla="*/ 144 w 206"/>
                <a:gd name="T43" fmla="*/ 82 h 176"/>
                <a:gd name="T44" fmla="*/ 130 w 206"/>
                <a:gd name="T45" fmla="*/ 90 h 176"/>
                <a:gd name="T46" fmla="*/ 124 w 206"/>
                <a:gd name="T47" fmla="*/ 106 h 176"/>
                <a:gd name="T48" fmla="*/ 110 w 206"/>
                <a:gd name="T49" fmla="*/ 116 h 176"/>
                <a:gd name="T50" fmla="*/ 112 w 206"/>
                <a:gd name="T51" fmla="*/ 118 h 176"/>
                <a:gd name="T52" fmla="*/ 104 w 206"/>
                <a:gd name="T53" fmla="*/ 124 h 176"/>
                <a:gd name="T54" fmla="*/ 90 w 206"/>
                <a:gd name="T55" fmla="*/ 128 h 176"/>
                <a:gd name="T56" fmla="*/ 78 w 206"/>
                <a:gd name="T57" fmla="*/ 140 h 176"/>
                <a:gd name="T58" fmla="*/ 62 w 206"/>
                <a:gd name="T59" fmla="*/ 160 h 176"/>
                <a:gd name="T60" fmla="*/ 56 w 206"/>
                <a:gd name="T61" fmla="*/ 176 h 176"/>
                <a:gd name="T62" fmla="*/ 52 w 206"/>
                <a:gd name="T63" fmla="*/ 176 h 176"/>
                <a:gd name="T64" fmla="*/ 48 w 206"/>
                <a:gd name="T65" fmla="*/ 176 h 176"/>
                <a:gd name="T66" fmla="*/ 34 w 206"/>
                <a:gd name="T67" fmla="*/ 176 h 176"/>
                <a:gd name="T68" fmla="*/ 22 w 206"/>
                <a:gd name="T69" fmla="*/ 168 h 176"/>
                <a:gd name="T70" fmla="*/ 8 w 206"/>
                <a:gd name="T71" fmla="*/ 160 h 176"/>
                <a:gd name="T72" fmla="*/ 0 w 206"/>
                <a:gd name="T73" fmla="*/ 140 h 176"/>
                <a:gd name="T74" fmla="*/ 0 w 206"/>
                <a:gd name="T75" fmla="*/ 124 h 176"/>
                <a:gd name="T76" fmla="*/ 14 w 206"/>
                <a:gd name="T77" fmla="*/ 124 h 176"/>
                <a:gd name="T78" fmla="*/ 22 w 206"/>
                <a:gd name="T79" fmla="*/ 106 h 176"/>
                <a:gd name="T80" fmla="*/ 28 w 206"/>
                <a:gd name="T81" fmla="*/ 90 h 176"/>
                <a:gd name="T82" fmla="*/ 28 w 206"/>
                <a:gd name="T83" fmla="*/ 72 h 176"/>
                <a:gd name="T84" fmla="*/ 14 w 206"/>
                <a:gd name="T85" fmla="*/ 64 h 176"/>
                <a:gd name="T86" fmla="*/ 0 w 206"/>
                <a:gd name="T87" fmla="*/ 32 h 176"/>
                <a:gd name="T88" fmla="*/ 2 w 206"/>
                <a:gd name="T89" fmla="*/ 2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" h="176">
                  <a:moveTo>
                    <a:pt x="2" y="28"/>
                  </a:moveTo>
                  <a:lnTo>
                    <a:pt x="16" y="8"/>
                  </a:lnTo>
                  <a:lnTo>
                    <a:pt x="28" y="8"/>
                  </a:lnTo>
                  <a:lnTo>
                    <a:pt x="42" y="8"/>
                  </a:lnTo>
                  <a:lnTo>
                    <a:pt x="56" y="28"/>
                  </a:lnTo>
                  <a:lnTo>
                    <a:pt x="70" y="36"/>
                  </a:lnTo>
                  <a:lnTo>
                    <a:pt x="84" y="36"/>
                  </a:lnTo>
                  <a:lnTo>
                    <a:pt x="98" y="36"/>
                  </a:lnTo>
                  <a:lnTo>
                    <a:pt x="112" y="36"/>
                  </a:lnTo>
                  <a:lnTo>
                    <a:pt x="124" y="28"/>
                  </a:lnTo>
                  <a:lnTo>
                    <a:pt x="138" y="18"/>
                  </a:lnTo>
                  <a:lnTo>
                    <a:pt x="150" y="0"/>
                  </a:lnTo>
                  <a:lnTo>
                    <a:pt x="164" y="0"/>
                  </a:lnTo>
                  <a:lnTo>
                    <a:pt x="178" y="0"/>
                  </a:lnTo>
                  <a:lnTo>
                    <a:pt x="192" y="0"/>
                  </a:lnTo>
                  <a:lnTo>
                    <a:pt x="206" y="8"/>
                  </a:lnTo>
                  <a:lnTo>
                    <a:pt x="204" y="12"/>
                  </a:lnTo>
                  <a:lnTo>
                    <a:pt x="200" y="18"/>
                  </a:lnTo>
                  <a:lnTo>
                    <a:pt x="186" y="38"/>
                  </a:lnTo>
                  <a:lnTo>
                    <a:pt x="172" y="54"/>
                  </a:lnTo>
                  <a:lnTo>
                    <a:pt x="158" y="64"/>
                  </a:lnTo>
                  <a:lnTo>
                    <a:pt x="144" y="82"/>
                  </a:lnTo>
                  <a:lnTo>
                    <a:pt x="130" y="90"/>
                  </a:lnTo>
                  <a:lnTo>
                    <a:pt x="124" y="106"/>
                  </a:lnTo>
                  <a:lnTo>
                    <a:pt x="110" y="116"/>
                  </a:lnTo>
                  <a:lnTo>
                    <a:pt x="112" y="118"/>
                  </a:lnTo>
                  <a:lnTo>
                    <a:pt x="104" y="124"/>
                  </a:lnTo>
                  <a:lnTo>
                    <a:pt x="90" y="128"/>
                  </a:lnTo>
                  <a:lnTo>
                    <a:pt x="78" y="140"/>
                  </a:lnTo>
                  <a:lnTo>
                    <a:pt x="62" y="160"/>
                  </a:lnTo>
                  <a:lnTo>
                    <a:pt x="56" y="176"/>
                  </a:lnTo>
                  <a:lnTo>
                    <a:pt x="52" y="176"/>
                  </a:lnTo>
                  <a:lnTo>
                    <a:pt x="48" y="176"/>
                  </a:lnTo>
                  <a:lnTo>
                    <a:pt x="34" y="176"/>
                  </a:lnTo>
                  <a:lnTo>
                    <a:pt x="22" y="168"/>
                  </a:lnTo>
                  <a:lnTo>
                    <a:pt x="8" y="160"/>
                  </a:lnTo>
                  <a:lnTo>
                    <a:pt x="0" y="140"/>
                  </a:lnTo>
                  <a:lnTo>
                    <a:pt x="0" y="124"/>
                  </a:lnTo>
                  <a:lnTo>
                    <a:pt x="14" y="124"/>
                  </a:lnTo>
                  <a:lnTo>
                    <a:pt x="22" y="106"/>
                  </a:lnTo>
                  <a:lnTo>
                    <a:pt x="28" y="90"/>
                  </a:lnTo>
                  <a:lnTo>
                    <a:pt x="28" y="72"/>
                  </a:lnTo>
                  <a:lnTo>
                    <a:pt x="14" y="64"/>
                  </a:lnTo>
                  <a:lnTo>
                    <a:pt x="0" y="32"/>
                  </a:lnTo>
                  <a:lnTo>
                    <a:pt x="2" y="28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64"/>
            <p:cNvSpPr>
              <a:spLocks/>
            </p:cNvSpPr>
            <p:nvPr/>
          </p:nvSpPr>
          <p:spPr bwMode="auto">
            <a:xfrm>
              <a:off x="3189030" y="3092938"/>
              <a:ext cx="887923" cy="974623"/>
            </a:xfrm>
            <a:custGeom>
              <a:avLst/>
              <a:gdLst>
                <a:gd name="T0" fmla="*/ 356 w 594"/>
                <a:gd name="T1" fmla="*/ 576 h 652"/>
                <a:gd name="T2" fmla="*/ 376 w 594"/>
                <a:gd name="T3" fmla="*/ 540 h 652"/>
                <a:gd name="T4" fmla="*/ 398 w 594"/>
                <a:gd name="T5" fmla="*/ 488 h 652"/>
                <a:gd name="T6" fmla="*/ 356 w 594"/>
                <a:gd name="T7" fmla="*/ 468 h 652"/>
                <a:gd name="T8" fmla="*/ 304 w 594"/>
                <a:gd name="T9" fmla="*/ 462 h 652"/>
                <a:gd name="T10" fmla="*/ 264 w 594"/>
                <a:gd name="T11" fmla="*/ 426 h 652"/>
                <a:gd name="T12" fmla="*/ 216 w 594"/>
                <a:gd name="T13" fmla="*/ 392 h 652"/>
                <a:gd name="T14" fmla="*/ 174 w 594"/>
                <a:gd name="T15" fmla="*/ 402 h 652"/>
                <a:gd name="T16" fmla="*/ 136 w 594"/>
                <a:gd name="T17" fmla="*/ 366 h 652"/>
                <a:gd name="T18" fmla="*/ 88 w 594"/>
                <a:gd name="T19" fmla="*/ 384 h 652"/>
                <a:gd name="T20" fmla="*/ 40 w 594"/>
                <a:gd name="T21" fmla="*/ 426 h 652"/>
                <a:gd name="T22" fmla="*/ 14 w 594"/>
                <a:gd name="T23" fmla="*/ 418 h 652"/>
                <a:gd name="T24" fmla="*/ 28 w 594"/>
                <a:gd name="T25" fmla="*/ 402 h 652"/>
                <a:gd name="T26" fmla="*/ 22 w 594"/>
                <a:gd name="T27" fmla="*/ 356 h 652"/>
                <a:gd name="T28" fmla="*/ 6 w 594"/>
                <a:gd name="T29" fmla="*/ 314 h 652"/>
                <a:gd name="T30" fmla="*/ 22 w 594"/>
                <a:gd name="T31" fmla="*/ 270 h 652"/>
                <a:gd name="T32" fmla="*/ 14 w 594"/>
                <a:gd name="T33" fmla="*/ 226 h 652"/>
                <a:gd name="T34" fmla="*/ 28 w 594"/>
                <a:gd name="T35" fmla="*/ 184 h 652"/>
                <a:gd name="T36" fmla="*/ 0 w 594"/>
                <a:gd name="T37" fmla="*/ 166 h 652"/>
                <a:gd name="T38" fmla="*/ 28 w 594"/>
                <a:gd name="T39" fmla="*/ 122 h 652"/>
                <a:gd name="T40" fmla="*/ 56 w 594"/>
                <a:gd name="T41" fmla="*/ 114 h 652"/>
                <a:gd name="T42" fmla="*/ 94 w 594"/>
                <a:gd name="T43" fmla="*/ 140 h 652"/>
                <a:gd name="T44" fmla="*/ 136 w 594"/>
                <a:gd name="T45" fmla="*/ 114 h 652"/>
                <a:gd name="T46" fmla="*/ 174 w 594"/>
                <a:gd name="T47" fmla="*/ 98 h 652"/>
                <a:gd name="T48" fmla="*/ 174 w 594"/>
                <a:gd name="T49" fmla="*/ 44 h 652"/>
                <a:gd name="T50" fmla="*/ 216 w 594"/>
                <a:gd name="T51" fmla="*/ 44 h 652"/>
                <a:gd name="T52" fmla="*/ 254 w 594"/>
                <a:gd name="T53" fmla="*/ 52 h 652"/>
                <a:gd name="T54" fmla="*/ 304 w 594"/>
                <a:gd name="T55" fmla="*/ 28 h 652"/>
                <a:gd name="T56" fmla="*/ 340 w 594"/>
                <a:gd name="T57" fmla="*/ 0 h 652"/>
                <a:gd name="T58" fmla="*/ 356 w 594"/>
                <a:gd name="T59" fmla="*/ 18 h 652"/>
                <a:gd name="T60" fmla="*/ 376 w 594"/>
                <a:gd name="T61" fmla="*/ 62 h 652"/>
                <a:gd name="T62" fmla="*/ 426 w 594"/>
                <a:gd name="T63" fmla="*/ 36 h 652"/>
                <a:gd name="T64" fmla="*/ 472 w 594"/>
                <a:gd name="T65" fmla="*/ 0 h 652"/>
                <a:gd name="T66" fmla="*/ 512 w 594"/>
                <a:gd name="T67" fmla="*/ 18 h 652"/>
                <a:gd name="T68" fmla="*/ 540 w 594"/>
                <a:gd name="T69" fmla="*/ 52 h 652"/>
                <a:gd name="T70" fmla="*/ 566 w 594"/>
                <a:gd name="T71" fmla="*/ 98 h 652"/>
                <a:gd name="T72" fmla="*/ 552 w 594"/>
                <a:gd name="T73" fmla="*/ 148 h 652"/>
                <a:gd name="T74" fmla="*/ 548 w 594"/>
                <a:gd name="T75" fmla="*/ 184 h 652"/>
                <a:gd name="T76" fmla="*/ 586 w 594"/>
                <a:gd name="T77" fmla="*/ 200 h 652"/>
                <a:gd name="T78" fmla="*/ 586 w 594"/>
                <a:gd name="T79" fmla="*/ 218 h 652"/>
                <a:gd name="T80" fmla="*/ 552 w 594"/>
                <a:gd name="T81" fmla="*/ 254 h 652"/>
                <a:gd name="T82" fmla="*/ 526 w 594"/>
                <a:gd name="T83" fmla="*/ 288 h 652"/>
                <a:gd name="T84" fmla="*/ 498 w 594"/>
                <a:gd name="T85" fmla="*/ 288 h 652"/>
                <a:gd name="T86" fmla="*/ 480 w 594"/>
                <a:gd name="T87" fmla="*/ 332 h 652"/>
                <a:gd name="T88" fmla="*/ 472 w 594"/>
                <a:gd name="T89" fmla="*/ 392 h 652"/>
                <a:gd name="T90" fmla="*/ 466 w 594"/>
                <a:gd name="T91" fmla="*/ 452 h 652"/>
                <a:gd name="T92" fmla="*/ 466 w 594"/>
                <a:gd name="T93" fmla="*/ 506 h 652"/>
                <a:gd name="T94" fmla="*/ 452 w 594"/>
                <a:gd name="T95" fmla="*/ 548 h 652"/>
                <a:gd name="T96" fmla="*/ 444 w 594"/>
                <a:gd name="T97" fmla="*/ 600 h 652"/>
                <a:gd name="T98" fmla="*/ 418 w 594"/>
                <a:gd name="T99" fmla="*/ 646 h 652"/>
                <a:gd name="T100" fmla="*/ 398 w 594"/>
                <a:gd name="T101" fmla="*/ 636 h 652"/>
                <a:gd name="T102" fmla="*/ 376 w 594"/>
                <a:gd name="T103" fmla="*/ 61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4" h="652">
                  <a:moveTo>
                    <a:pt x="376" y="610"/>
                  </a:moveTo>
                  <a:lnTo>
                    <a:pt x="370" y="592"/>
                  </a:lnTo>
                  <a:lnTo>
                    <a:pt x="356" y="576"/>
                  </a:lnTo>
                  <a:lnTo>
                    <a:pt x="356" y="558"/>
                  </a:lnTo>
                  <a:lnTo>
                    <a:pt x="364" y="540"/>
                  </a:lnTo>
                  <a:lnTo>
                    <a:pt x="376" y="540"/>
                  </a:lnTo>
                  <a:lnTo>
                    <a:pt x="392" y="522"/>
                  </a:lnTo>
                  <a:lnTo>
                    <a:pt x="404" y="506"/>
                  </a:lnTo>
                  <a:lnTo>
                    <a:pt x="398" y="488"/>
                  </a:lnTo>
                  <a:lnTo>
                    <a:pt x="384" y="478"/>
                  </a:lnTo>
                  <a:lnTo>
                    <a:pt x="364" y="488"/>
                  </a:lnTo>
                  <a:lnTo>
                    <a:pt x="356" y="468"/>
                  </a:lnTo>
                  <a:lnTo>
                    <a:pt x="336" y="478"/>
                  </a:lnTo>
                  <a:lnTo>
                    <a:pt x="322" y="468"/>
                  </a:lnTo>
                  <a:lnTo>
                    <a:pt x="304" y="462"/>
                  </a:lnTo>
                  <a:lnTo>
                    <a:pt x="298" y="444"/>
                  </a:lnTo>
                  <a:lnTo>
                    <a:pt x="278" y="436"/>
                  </a:lnTo>
                  <a:lnTo>
                    <a:pt x="264" y="426"/>
                  </a:lnTo>
                  <a:lnTo>
                    <a:pt x="250" y="426"/>
                  </a:lnTo>
                  <a:lnTo>
                    <a:pt x="228" y="408"/>
                  </a:lnTo>
                  <a:lnTo>
                    <a:pt x="216" y="392"/>
                  </a:lnTo>
                  <a:lnTo>
                    <a:pt x="202" y="392"/>
                  </a:lnTo>
                  <a:lnTo>
                    <a:pt x="190" y="402"/>
                  </a:lnTo>
                  <a:lnTo>
                    <a:pt x="174" y="402"/>
                  </a:lnTo>
                  <a:lnTo>
                    <a:pt x="150" y="392"/>
                  </a:lnTo>
                  <a:lnTo>
                    <a:pt x="150" y="374"/>
                  </a:lnTo>
                  <a:lnTo>
                    <a:pt x="136" y="366"/>
                  </a:lnTo>
                  <a:lnTo>
                    <a:pt x="114" y="366"/>
                  </a:lnTo>
                  <a:lnTo>
                    <a:pt x="100" y="374"/>
                  </a:lnTo>
                  <a:lnTo>
                    <a:pt x="88" y="384"/>
                  </a:lnTo>
                  <a:lnTo>
                    <a:pt x="74" y="402"/>
                  </a:lnTo>
                  <a:lnTo>
                    <a:pt x="60" y="408"/>
                  </a:lnTo>
                  <a:lnTo>
                    <a:pt x="40" y="426"/>
                  </a:lnTo>
                  <a:lnTo>
                    <a:pt x="34" y="426"/>
                  </a:lnTo>
                  <a:lnTo>
                    <a:pt x="20" y="436"/>
                  </a:lnTo>
                  <a:lnTo>
                    <a:pt x="14" y="418"/>
                  </a:lnTo>
                  <a:lnTo>
                    <a:pt x="14" y="408"/>
                  </a:lnTo>
                  <a:lnTo>
                    <a:pt x="14" y="408"/>
                  </a:lnTo>
                  <a:lnTo>
                    <a:pt x="28" y="402"/>
                  </a:lnTo>
                  <a:lnTo>
                    <a:pt x="34" y="384"/>
                  </a:lnTo>
                  <a:lnTo>
                    <a:pt x="34" y="366"/>
                  </a:lnTo>
                  <a:lnTo>
                    <a:pt x="22" y="356"/>
                  </a:lnTo>
                  <a:lnTo>
                    <a:pt x="6" y="348"/>
                  </a:lnTo>
                  <a:lnTo>
                    <a:pt x="6" y="332"/>
                  </a:lnTo>
                  <a:lnTo>
                    <a:pt x="6" y="314"/>
                  </a:lnTo>
                  <a:lnTo>
                    <a:pt x="22" y="304"/>
                  </a:lnTo>
                  <a:lnTo>
                    <a:pt x="22" y="288"/>
                  </a:lnTo>
                  <a:lnTo>
                    <a:pt x="22" y="270"/>
                  </a:lnTo>
                  <a:lnTo>
                    <a:pt x="14" y="252"/>
                  </a:lnTo>
                  <a:lnTo>
                    <a:pt x="0" y="244"/>
                  </a:lnTo>
                  <a:lnTo>
                    <a:pt x="14" y="226"/>
                  </a:lnTo>
                  <a:lnTo>
                    <a:pt x="6" y="210"/>
                  </a:lnTo>
                  <a:lnTo>
                    <a:pt x="22" y="200"/>
                  </a:lnTo>
                  <a:lnTo>
                    <a:pt x="28" y="184"/>
                  </a:lnTo>
                  <a:lnTo>
                    <a:pt x="14" y="184"/>
                  </a:lnTo>
                  <a:lnTo>
                    <a:pt x="0" y="184"/>
                  </a:lnTo>
                  <a:lnTo>
                    <a:pt x="0" y="166"/>
                  </a:lnTo>
                  <a:lnTo>
                    <a:pt x="6" y="148"/>
                  </a:lnTo>
                  <a:lnTo>
                    <a:pt x="14" y="132"/>
                  </a:lnTo>
                  <a:lnTo>
                    <a:pt x="28" y="122"/>
                  </a:lnTo>
                  <a:lnTo>
                    <a:pt x="34" y="106"/>
                  </a:lnTo>
                  <a:lnTo>
                    <a:pt x="40" y="106"/>
                  </a:lnTo>
                  <a:lnTo>
                    <a:pt x="56" y="114"/>
                  </a:lnTo>
                  <a:lnTo>
                    <a:pt x="66" y="124"/>
                  </a:lnTo>
                  <a:lnTo>
                    <a:pt x="80" y="132"/>
                  </a:lnTo>
                  <a:lnTo>
                    <a:pt x="94" y="140"/>
                  </a:lnTo>
                  <a:lnTo>
                    <a:pt x="108" y="140"/>
                  </a:lnTo>
                  <a:lnTo>
                    <a:pt x="122" y="132"/>
                  </a:lnTo>
                  <a:lnTo>
                    <a:pt x="136" y="114"/>
                  </a:lnTo>
                  <a:lnTo>
                    <a:pt x="150" y="114"/>
                  </a:lnTo>
                  <a:lnTo>
                    <a:pt x="168" y="114"/>
                  </a:lnTo>
                  <a:lnTo>
                    <a:pt x="174" y="98"/>
                  </a:lnTo>
                  <a:lnTo>
                    <a:pt x="174" y="78"/>
                  </a:lnTo>
                  <a:lnTo>
                    <a:pt x="168" y="62"/>
                  </a:lnTo>
                  <a:lnTo>
                    <a:pt x="174" y="44"/>
                  </a:lnTo>
                  <a:lnTo>
                    <a:pt x="190" y="44"/>
                  </a:lnTo>
                  <a:lnTo>
                    <a:pt x="202" y="44"/>
                  </a:lnTo>
                  <a:lnTo>
                    <a:pt x="216" y="44"/>
                  </a:lnTo>
                  <a:lnTo>
                    <a:pt x="228" y="44"/>
                  </a:lnTo>
                  <a:lnTo>
                    <a:pt x="242" y="52"/>
                  </a:lnTo>
                  <a:lnTo>
                    <a:pt x="254" y="52"/>
                  </a:lnTo>
                  <a:lnTo>
                    <a:pt x="270" y="44"/>
                  </a:lnTo>
                  <a:lnTo>
                    <a:pt x="282" y="28"/>
                  </a:lnTo>
                  <a:lnTo>
                    <a:pt x="304" y="28"/>
                  </a:lnTo>
                  <a:lnTo>
                    <a:pt x="318" y="18"/>
                  </a:lnTo>
                  <a:lnTo>
                    <a:pt x="328" y="10"/>
                  </a:lnTo>
                  <a:lnTo>
                    <a:pt x="340" y="0"/>
                  </a:lnTo>
                  <a:lnTo>
                    <a:pt x="338" y="0"/>
                  </a:lnTo>
                  <a:lnTo>
                    <a:pt x="350" y="0"/>
                  </a:lnTo>
                  <a:lnTo>
                    <a:pt x="356" y="18"/>
                  </a:lnTo>
                  <a:lnTo>
                    <a:pt x="370" y="28"/>
                  </a:lnTo>
                  <a:lnTo>
                    <a:pt x="370" y="44"/>
                  </a:lnTo>
                  <a:lnTo>
                    <a:pt x="376" y="62"/>
                  </a:lnTo>
                  <a:lnTo>
                    <a:pt x="398" y="62"/>
                  </a:lnTo>
                  <a:lnTo>
                    <a:pt x="412" y="44"/>
                  </a:lnTo>
                  <a:lnTo>
                    <a:pt x="426" y="36"/>
                  </a:lnTo>
                  <a:lnTo>
                    <a:pt x="436" y="18"/>
                  </a:lnTo>
                  <a:lnTo>
                    <a:pt x="452" y="10"/>
                  </a:lnTo>
                  <a:lnTo>
                    <a:pt x="472" y="0"/>
                  </a:lnTo>
                  <a:lnTo>
                    <a:pt x="486" y="10"/>
                  </a:lnTo>
                  <a:lnTo>
                    <a:pt x="498" y="18"/>
                  </a:lnTo>
                  <a:lnTo>
                    <a:pt x="512" y="18"/>
                  </a:lnTo>
                  <a:lnTo>
                    <a:pt x="526" y="28"/>
                  </a:lnTo>
                  <a:lnTo>
                    <a:pt x="534" y="44"/>
                  </a:lnTo>
                  <a:lnTo>
                    <a:pt x="540" y="52"/>
                  </a:lnTo>
                  <a:lnTo>
                    <a:pt x="538" y="54"/>
                  </a:lnTo>
                  <a:lnTo>
                    <a:pt x="552" y="90"/>
                  </a:lnTo>
                  <a:lnTo>
                    <a:pt x="566" y="98"/>
                  </a:lnTo>
                  <a:lnTo>
                    <a:pt x="566" y="114"/>
                  </a:lnTo>
                  <a:lnTo>
                    <a:pt x="562" y="132"/>
                  </a:lnTo>
                  <a:lnTo>
                    <a:pt x="552" y="148"/>
                  </a:lnTo>
                  <a:lnTo>
                    <a:pt x="538" y="148"/>
                  </a:lnTo>
                  <a:lnTo>
                    <a:pt x="538" y="166"/>
                  </a:lnTo>
                  <a:lnTo>
                    <a:pt x="548" y="184"/>
                  </a:lnTo>
                  <a:lnTo>
                    <a:pt x="562" y="192"/>
                  </a:lnTo>
                  <a:lnTo>
                    <a:pt x="572" y="200"/>
                  </a:lnTo>
                  <a:lnTo>
                    <a:pt x="586" y="200"/>
                  </a:lnTo>
                  <a:lnTo>
                    <a:pt x="592" y="200"/>
                  </a:lnTo>
                  <a:lnTo>
                    <a:pt x="594" y="200"/>
                  </a:lnTo>
                  <a:lnTo>
                    <a:pt x="586" y="218"/>
                  </a:lnTo>
                  <a:lnTo>
                    <a:pt x="572" y="226"/>
                  </a:lnTo>
                  <a:lnTo>
                    <a:pt x="562" y="236"/>
                  </a:lnTo>
                  <a:lnTo>
                    <a:pt x="552" y="254"/>
                  </a:lnTo>
                  <a:lnTo>
                    <a:pt x="548" y="270"/>
                  </a:lnTo>
                  <a:lnTo>
                    <a:pt x="538" y="288"/>
                  </a:lnTo>
                  <a:lnTo>
                    <a:pt x="526" y="288"/>
                  </a:lnTo>
                  <a:lnTo>
                    <a:pt x="520" y="270"/>
                  </a:lnTo>
                  <a:lnTo>
                    <a:pt x="506" y="270"/>
                  </a:lnTo>
                  <a:lnTo>
                    <a:pt x="498" y="288"/>
                  </a:lnTo>
                  <a:lnTo>
                    <a:pt x="498" y="298"/>
                  </a:lnTo>
                  <a:lnTo>
                    <a:pt x="492" y="314"/>
                  </a:lnTo>
                  <a:lnTo>
                    <a:pt x="480" y="332"/>
                  </a:lnTo>
                  <a:lnTo>
                    <a:pt x="480" y="348"/>
                  </a:lnTo>
                  <a:lnTo>
                    <a:pt x="480" y="366"/>
                  </a:lnTo>
                  <a:lnTo>
                    <a:pt x="472" y="392"/>
                  </a:lnTo>
                  <a:lnTo>
                    <a:pt x="472" y="408"/>
                  </a:lnTo>
                  <a:lnTo>
                    <a:pt x="466" y="436"/>
                  </a:lnTo>
                  <a:lnTo>
                    <a:pt x="466" y="452"/>
                  </a:lnTo>
                  <a:lnTo>
                    <a:pt x="472" y="468"/>
                  </a:lnTo>
                  <a:lnTo>
                    <a:pt x="472" y="488"/>
                  </a:lnTo>
                  <a:lnTo>
                    <a:pt x="466" y="506"/>
                  </a:lnTo>
                  <a:lnTo>
                    <a:pt x="466" y="522"/>
                  </a:lnTo>
                  <a:lnTo>
                    <a:pt x="458" y="530"/>
                  </a:lnTo>
                  <a:lnTo>
                    <a:pt x="452" y="548"/>
                  </a:lnTo>
                  <a:lnTo>
                    <a:pt x="452" y="568"/>
                  </a:lnTo>
                  <a:lnTo>
                    <a:pt x="452" y="584"/>
                  </a:lnTo>
                  <a:lnTo>
                    <a:pt x="444" y="600"/>
                  </a:lnTo>
                  <a:lnTo>
                    <a:pt x="436" y="618"/>
                  </a:lnTo>
                  <a:lnTo>
                    <a:pt x="432" y="636"/>
                  </a:lnTo>
                  <a:lnTo>
                    <a:pt x="418" y="646"/>
                  </a:lnTo>
                  <a:lnTo>
                    <a:pt x="418" y="652"/>
                  </a:lnTo>
                  <a:lnTo>
                    <a:pt x="412" y="652"/>
                  </a:lnTo>
                  <a:lnTo>
                    <a:pt x="398" y="636"/>
                  </a:lnTo>
                  <a:lnTo>
                    <a:pt x="388" y="620"/>
                  </a:lnTo>
                  <a:lnTo>
                    <a:pt x="384" y="618"/>
                  </a:lnTo>
                  <a:lnTo>
                    <a:pt x="376" y="61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65"/>
            <p:cNvSpPr>
              <a:spLocks/>
            </p:cNvSpPr>
            <p:nvPr/>
          </p:nvSpPr>
          <p:spPr bwMode="auto">
            <a:xfrm>
              <a:off x="3189030" y="3092938"/>
              <a:ext cx="887923" cy="974623"/>
            </a:xfrm>
            <a:custGeom>
              <a:avLst/>
              <a:gdLst>
                <a:gd name="T0" fmla="*/ 356 w 594"/>
                <a:gd name="T1" fmla="*/ 576 h 652"/>
                <a:gd name="T2" fmla="*/ 376 w 594"/>
                <a:gd name="T3" fmla="*/ 540 h 652"/>
                <a:gd name="T4" fmla="*/ 398 w 594"/>
                <a:gd name="T5" fmla="*/ 488 h 652"/>
                <a:gd name="T6" fmla="*/ 356 w 594"/>
                <a:gd name="T7" fmla="*/ 468 h 652"/>
                <a:gd name="T8" fmla="*/ 304 w 594"/>
                <a:gd name="T9" fmla="*/ 462 h 652"/>
                <a:gd name="T10" fmla="*/ 264 w 594"/>
                <a:gd name="T11" fmla="*/ 426 h 652"/>
                <a:gd name="T12" fmla="*/ 216 w 594"/>
                <a:gd name="T13" fmla="*/ 392 h 652"/>
                <a:gd name="T14" fmla="*/ 174 w 594"/>
                <a:gd name="T15" fmla="*/ 402 h 652"/>
                <a:gd name="T16" fmla="*/ 136 w 594"/>
                <a:gd name="T17" fmla="*/ 366 h 652"/>
                <a:gd name="T18" fmla="*/ 88 w 594"/>
                <a:gd name="T19" fmla="*/ 384 h 652"/>
                <a:gd name="T20" fmla="*/ 40 w 594"/>
                <a:gd name="T21" fmla="*/ 426 h 652"/>
                <a:gd name="T22" fmla="*/ 14 w 594"/>
                <a:gd name="T23" fmla="*/ 418 h 652"/>
                <a:gd name="T24" fmla="*/ 28 w 594"/>
                <a:gd name="T25" fmla="*/ 402 h 652"/>
                <a:gd name="T26" fmla="*/ 22 w 594"/>
                <a:gd name="T27" fmla="*/ 356 h 652"/>
                <a:gd name="T28" fmla="*/ 6 w 594"/>
                <a:gd name="T29" fmla="*/ 314 h 652"/>
                <a:gd name="T30" fmla="*/ 22 w 594"/>
                <a:gd name="T31" fmla="*/ 270 h 652"/>
                <a:gd name="T32" fmla="*/ 14 w 594"/>
                <a:gd name="T33" fmla="*/ 226 h 652"/>
                <a:gd name="T34" fmla="*/ 28 w 594"/>
                <a:gd name="T35" fmla="*/ 184 h 652"/>
                <a:gd name="T36" fmla="*/ 0 w 594"/>
                <a:gd name="T37" fmla="*/ 166 h 652"/>
                <a:gd name="T38" fmla="*/ 28 w 594"/>
                <a:gd name="T39" fmla="*/ 122 h 652"/>
                <a:gd name="T40" fmla="*/ 56 w 594"/>
                <a:gd name="T41" fmla="*/ 114 h 652"/>
                <a:gd name="T42" fmla="*/ 94 w 594"/>
                <a:gd name="T43" fmla="*/ 140 h 652"/>
                <a:gd name="T44" fmla="*/ 136 w 594"/>
                <a:gd name="T45" fmla="*/ 114 h 652"/>
                <a:gd name="T46" fmla="*/ 174 w 594"/>
                <a:gd name="T47" fmla="*/ 98 h 652"/>
                <a:gd name="T48" fmla="*/ 174 w 594"/>
                <a:gd name="T49" fmla="*/ 44 h 652"/>
                <a:gd name="T50" fmla="*/ 216 w 594"/>
                <a:gd name="T51" fmla="*/ 44 h 652"/>
                <a:gd name="T52" fmla="*/ 254 w 594"/>
                <a:gd name="T53" fmla="*/ 52 h 652"/>
                <a:gd name="T54" fmla="*/ 304 w 594"/>
                <a:gd name="T55" fmla="*/ 28 h 652"/>
                <a:gd name="T56" fmla="*/ 340 w 594"/>
                <a:gd name="T57" fmla="*/ 0 h 652"/>
                <a:gd name="T58" fmla="*/ 356 w 594"/>
                <a:gd name="T59" fmla="*/ 18 h 652"/>
                <a:gd name="T60" fmla="*/ 376 w 594"/>
                <a:gd name="T61" fmla="*/ 62 h 652"/>
                <a:gd name="T62" fmla="*/ 426 w 594"/>
                <a:gd name="T63" fmla="*/ 36 h 652"/>
                <a:gd name="T64" fmla="*/ 472 w 594"/>
                <a:gd name="T65" fmla="*/ 0 h 652"/>
                <a:gd name="T66" fmla="*/ 512 w 594"/>
                <a:gd name="T67" fmla="*/ 18 h 652"/>
                <a:gd name="T68" fmla="*/ 540 w 594"/>
                <a:gd name="T69" fmla="*/ 52 h 652"/>
                <a:gd name="T70" fmla="*/ 566 w 594"/>
                <a:gd name="T71" fmla="*/ 98 h 652"/>
                <a:gd name="T72" fmla="*/ 552 w 594"/>
                <a:gd name="T73" fmla="*/ 148 h 652"/>
                <a:gd name="T74" fmla="*/ 548 w 594"/>
                <a:gd name="T75" fmla="*/ 184 h 652"/>
                <a:gd name="T76" fmla="*/ 586 w 594"/>
                <a:gd name="T77" fmla="*/ 200 h 652"/>
                <a:gd name="T78" fmla="*/ 586 w 594"/>
                <a:gd name="T79" fmla="*/ 218 h 652"/>
                <a:gd name="T80" fmla="*/ 552 w 594"/>
                <a:gd name="T81" fmla="*/ 254 h 652"/>
                <a:gd name="T82" fmla="*/ 526 w 594"/>
                <a:gd name="T83" fmla="*/ 288 h 652"/>
                <a:gd name="T84" fmla="*/ 498 w 594"/>
                <a:gd name="T85" fmla="*/ 288 h 652"/>
                <a:gd name="T86" fmla="*/ 480 w 594"/>
                <a:gd name="T87" fmla="*/ 332 h 652"/>
                <a:gd name="T88" fmla="*/ 472 w 594"/>
                <a:gd name="T89" fmla="*/ 392 h 652"/>
                <a:gd name="T90" fmla="*/ 466 w 594"/>
                <a:gd name="T91" fmla="*/ 452 h 652"/>
                <a:gd name="T92" fmla="*/ 466 w 594"/>
                <a:gd name="T93" fmla="*/ 506 h 652"/>
                <a:gd name="T94" fmla="*/ 452 w 594"/>
                <a:gd name="T95" fmla="*/ 548 h 652"/>
                <a:gd name="T96" fmla="*/ 444 w 594"/>
                <a:gd name="T97" fmla="*/ 600 h 652"/>
                <a:gd name="T98" fmla="*/ 418 w 594"/>
                <a:gd name="T99" fmla="*/ 646 h 652"/>
                <a:gd name="T100" fmla="*/ 398 w 594"/>
                <a:gd name="T101" fmla="*/ 636 h 652"/>
                <a:gd name="T102" fmla="*/ 376 w 594"/>
                <a:gd name="T103" fmla="*/ 61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4" h="652">
                  <a:moveTo>
                    <a:pt x="376" y="610"/>
                  </a:moveTo>
                  <a:lnTo>
                    <a:pt x="370" y="592"/>
                  </a:lnTo>
                  <a:lnTo>
                    <a:pt x="356" y="576"/>
                  </a:lnTo>
                  <a:lnTo>
                    <a:pt x="356" y="558"/>
                  </a:lnTo>
                  <a:lnTo>
                    <a:pt x="364" y="540"/>
                  </a:lnTo>
                  <a:lnTo>
                    <a:pt x="376" y="540"/>
                  </a:lnTo>
                  <a:lnTo>
                    <a:pt x="392" y="522"/>
                  </a:lnTo>
                  <a:lnTo>
                    <a:pt x="404" y="506"/>
                  </a:lnTo>
                  <a:lnTo>
                    <a:pt x="398" y="488"/>
                  </a:lnTo>
                  <a:lnTo>
                    <a:pt x="384" y="478"/>
                  </a:lnTo>
                  <a:lnTo>
                    <a:pt x="364" y="488"/>
                  </a:lnTo>
                  <a:lnTo>
                    <a:pt x="356" y="468"/>
                  </a:lnTo>
                  <a:lnTo>
                    <a:pt x="336" y="478"/>
                  </a:lnTo>
                  <a:lnTo>
                    <a:pt x="322" y="468"/>
                  </a:lnTo>
                  <a:lnTo>
                    <a:pt x="304" y="462"/>
                  </a:lnTo>
                  <a:lnTo>
                    <a:pt x="298" y="444"/>
                  </a:lnTo>
                  <a:lnTo>
                    <a:pt x="278" y="436"/>
                  </a:lnTo>
                  <a:lnTo>
                    <a:pt x="264" y="426"/>
                  </a:lnTo>
                  <a:lnTo>
                    <a:pt x="250" y="426"/>
                  </a:lnTo>
                  <a:lnTo>
                    <a:pt x="228" y="408"/>
                  </a:lnTo>
                  <a:lnTo>
                    <a:pt x="216" y="392"/>
                  </a:lnTo>
                  <a:lnTo>
                    <a:pt x="202" y="392"/>
                  </a:lnTo>
                  <a:lnTo>
                    <a:pt x="190" y="402"/>
                  </a:lnTo>
                  <a:lnTo>
                    <a:pt x="174" y="402"/>
                  </a:lnTo>
                  <a:lnTo>
                    <a:pt x="150" y="392"/>
                  </a:lnTo>
                  <a:lnTo>
                    <a:pt x="150" y="374"/>
                  </a:lnTo>
                  <a:lnTo>
                    <a:pt x="136" y="366"/>
                  </a:lnTo>
                  <a:lnTo>
                    <a:pt x="114" y="366"/>
                  </a:lnTo>
                  <a:lnTo>
                    <a:pt x="100" y="374"/>
                  </a:lnTo>
                  <a:lnTo>
                    <a:pt x="88" y="384"/>
                  </a:lnTo>
                  <a:lnTo>
                    <a:pt x="74" y="402"/>
                  </a:lnTo>
                  <a:lnTo>
                    <a:pt x="60" y="408"/>
                  </a:lnTo>
                  <a:lnTo>
                    <a:pt x="40" y="426"/>
                  </a:lnTo>
                  <a:lnTo>
                    <a:pt x="34" y="426"/>
                  </a:lnTo>
                  <a:lnTo>
                    <a:pt x="20" y="436"/>
                  </a:lnTo>
                  <a:lnTo>
                    <a:pt x="14" y="418"/>
                  </a:lnTo>
                  <a:lnTo>
                    <a:pt x="14" y="408"/>
                  </a:lnTo>
                  <a:lnTo>
                    <a:pt x="14" y="408"/>
                  </a:lnTo>
                  <a:lnTo>
                    <a:pt x="28" y="402"/>
                  </a:lnTo>
                  <a:lnTo>
                    <a:pt x="34" y="384"/>
                  </a:lnTo>
                  <a:lnTo>
                    <a:pt x="34" y="366"/>
                  </a:lnTo>
                  <a:lnTo>
                    <a:pt x="22" y="356"/>
                  </a:lnTo>
                  <a:lnTo>
                    <a:pt x="6" y="348"/>
                  </a:lnTo>
                  <a:lnTo>
                    <a:pt x="6" y="332"/>
                  </a:lnTo>
                  <a:lnTo>
                    <a:pt x="6" y="314"/>
                  </a:lnTo>
                  <a:lnTo>
                    <a:pt x="22" y="304"/>
                  </a:lnTo>
                  <a:lnTo>
                    <a:pt x="22" y="288"/>
                  </a:lnTo>
                  <a:lnTo>
                    <a:pt x="22" y="270"/>
                  </a:lnTo>
                  <a:lnTo>
                    <a:pt x="14" y="252"/>
                  </a:lnTo>
                  <a:lnTo>
                    <a:pt x="0" y="244"/>
                  </a:lnTo>
                  <a:lnTo>
                    <a:pt x="14" y="226"/>
                  </a:lnTo>
                  <a:lnTo>
                    <a:pt x="6" y="210"/>
                  </a:lnTo>
                  <a:lnTo>
                    <a:pt x="22" y="200"/>
                  </a:lnTo>
                  <a:lnTo>
                    <a:pt x="28" y="184"/>
                  </a:lnTo>
                  <a:lnTo>
                    <a:pt x="14" y="184"/>
                  </a:lnTo>
                  <a:lnTo>
                    <a:pt x="0" y="184"/>
                  </a:lnTo>
                  <a:lnTo>
                    <a:pt x="0" y="166"/>
                  </a:lnTo>
                  <a:lnTo>
                    <a:pt x="6" y="148"/>
                  </a:lnTo>
                  <a:lnTo>
                    <a:pt x="14" y="132"/>
                  </a:lnTo>
                  <a:lnTo>
                    <a:pt x="28" y="122"/>
                  </a:lnTo>
                  <a:lnTo>
                    <a:pt x="34" y="106"/>
                  </a:lnTo>
                  <a:lnTo>
                    <a:pt x="40" y="106"/>
                  </a:lnTo>
                  <a:lnTo>
                    <a:pt x="56" y="114"/>
                  </a:lnTo>
                  <a:lnTo>
                    <a:pt x="66" y="124"/>
                  </a:lnTo>
                  <a:lnTo>
                    <a:pt x="80" y="132"/>
                  </a:lnTo>
                  <a:lnTo>
                    <a:pt x="94" y="140"/>
                  </a:lnTo>
                  <a:lnTo>
                    <a:pt x="108" y="140"/>
                  </a:lnTo>
                  <a:lnTo>
                    <a:pt x="122" y="132"/>
                  </a:lnTo>
                  <a:lnTo>
                    <a:pt x="136" y="114"/>
                  </a:lnTo>
                  <a:lnTo>
                    <a:pt x="150" y="114"/>
                  </a:lnTo>
                  <a:lnTo>
                    <a:pt x="168" y="114"/>
                  </a:lnTo>
                  <a:lnTo>
                    <a:pt x="174" y="98"/>
                  </a:lnTo>
                  <a:lnTo>
                    <a:pt x="174" y="78"/>
                  </a:lnTo>
                  <a:lnTo>
                    <a:pt x="168" y="62"/>
                  </a:lnTo>
                  <a:lnTo>
                    <a:pt x="174" y="44"/>
                  </a:lnTo>
                  <a:lnTo>
                    <a:pt x="190" y="44"/>
                  </a:lnTo>
                  <a:lnTo>
                    <a:pt x="202" y="44"/>
                  </a:lnTo>
                  <a:lnTo>
                    <a:pt x="216" y="44"/>
                  </a:lnTo>
                  <a:lnTo>
                    <a:pt x="228" y="44"/>
                  </a:lnTo>
                  <a:lnTo>
                    <a:pt x="242" y="52"/>
                  </a:lnTo>
                  <a:lnTo>
                    <a:pt x="254" y="52"/>
                  </a:lnTo>
                  <a:lnTo>
                    <a:pt x="270" y="44"/>
                  </a:lnTo>
                  <a:lnTo>
                    <a:pt x="282" y="28"/>
                  </a:lnTo>
                  <a:lnTo>
                    <a:pt x="304" y="28"/>
                  </a:lnTo>
                  <a:lnTo>
                    <a:pt x="318" y="18"/>
                  </a:lnTo>
                  <a:lnTo>
                    <a:pt x="328" y="10"/>
                  </a:lnTo>
                  <a:lnTo>
                    <a:pt x="340" y="0"/>
                  </a:lnTo>
                  <a:lnTo>
                    <a:pt x="338" y="0"/>
                  </a:lnTo>
                  <a:lnTo>
                    <a:pt x="350" y="0"/>
                  </a:lnTo>
                  <a:lnTo>
                    <a:pt x="356" y="18"/>
                  </a:lnTo>
                  <a:lnTo>
                    <a:pt x="370" y="28"/>
                  </a:lnTo>
                  <a:lnTo>
                    <a:pt x="370" y="44"/>
                  </a:lnTo>
                  <a:lnTo>
                    <a:pt x="376" y="62"/>
                  </a:lnTo>
                  <a:lnTo>
                    <a:pt x="398" y="62"/>
                  </a:lnTo>
                  <a:lnTo>
                    <a:pt x="412" y="44"/>
                  </a:lnTo>
                  <a:lnTo>
                    <a:pt x="426" y="36"/>
                  </a:lnTo>
                  <a:lnTo>
                    <a:pt x="436" y="18"/>
                  </a:lnTo>
                  <a:lnTo>
                    <a:pt x="452" y="10"/>
                  </a:lnTo>
                  <a:lnTo>
                    <a:pt x="472" y="0"/>
                  </a:lnTo>
                  <a:lnTo>
                    <a:pt x="486" y="10"/>
                  </a:lnTo>
                  <a:lnTo>
                    <a:pt x="498" y="18"/>
                  </a:lnTo>
                  <a:lnTo>
                    <a:pt x="512" y="18"/>
                  </a:lnTo>
                  <a:lnTo>
                    <a:pt x="526" y="28"/>
                  </a:lnTo>
                  <a:lnTo>
                    <a:pt x="534" y="44"/>
                  </a:lnTo>
                  <a:lnTo>
                    <a:pt x="540" y="52"/>
                  </a:lnTo>
                  <a:lnTo>
                    <a:pt x="538" y="54"/>
                  </a:lnTo>
                  <a:lnTo>
                    <a:pt x="552" y="90"/>
                  </a:lnTo>
                  <a:lnTo>
                    <a:pt x="566" y="98"/>
                  </a:lnTo>
                  <a:lnTo>
                    <a:pt x="566" y="114"/>
                  </a:lnTo>
                  <a:lnTo>
                    <a:pt x="562" y="132"/>
                  </a:lnTo>
                  <a:lnTo>
                    <a:pt x="552" y="148"/>
                  </a:lnTo>
                  <a:lnTo>
                    <a:pt x="538" y="148"/>
                  </a:lnTo>
                  <a:lnTo>
                    <a:pt x="538" y="166"/>
                  </a:lnTo>
                  <a:lnTo>
                    <a:pt x="548" y="184"/>
                  </a:lnTo>
                  <a:lnTo>
                    <a:pt x="562" y="192"/>
                  </a:lnTo>
                  <a:lnTo>
                    <a:pt x="572" y="200"/>
                  </a:lnTo>
                  <a:lnTo>
                    <a:pt x="586" y="200"/>
                  </a:lnTo>
                  <a:lnTo>
                    <a:pt x="592" y="200"/>
                  </a:lnTo>
                  <a:lnTo>
                    <a:pt x="594" y="200"/>
                  </a:lnTo>
                  <a:lnTo>
                    <a:pt x="586" y="218"/>
                  </a:lnTo>
                  <a:lnTo>
                    <a:pt x="572" y="226"/>
                  </a:lnTo>
                  <a:lnTo>
                    <a:pt x="562" y="236"/>
                  </a:lnTo>
                  <a:lnTo>
                    <a:pt x="552" y="254"/>
                  </a:lnTo>
                  <a:lnTo>
                    <a:pt x="548" y="270"/>
                  </a:lnTo>
                  <a:lnTo>
                    <a:pt x="538" y="288"/>
                  </a:lnTo>
                  <a:lnTo>
                    <a:pt x="526" y="288"/>
                  </a:lnTo>
                  <a:lnTo>
                    <a:pt x="520" y="270"/>
                  </a:lnTo>
                  <a:lnTo>
                    <a:pt x="506" y="270"/>
                  </a:lnTo>
                  <a:lnTo>
                    <a:pt x="498" y="288"/>
                  </a:lnTo>
                  <a:lnTo>
                    <a:pt x="498" y="298"/>
                  </a:lnTo>
                  <a:lnTo>
                    <a:pt x="492" y="314"/>
                  </a:lnTo>
                  <a:lnTo>
                    <a:pt x="480" y="332"/>
                  </a:lnTo>
                  <a:lnTo>
                    <a:pt x="480" y="348"/>
                  </a:lnTo>
                  <a:lnTo>
                    <a:pt x="480" y="366"/>
                  </a:lnTo>
                  <a:lnTo>
                    <a:pt x="472" y="392"/>
                  </a:lnTo>
                  <a:lnTo>
                    <a:pt x="472" y="408"/>
                  </a:lnTo>
                  <a:lnTo>
                    <a:pt x="466" y="436"/>
                  </a:lnTo>
                  <a:lnTo>
                    <a:pt x="466" y="452"/>
                  </a:lnTo>
                  <a:lnTo>
                    <a:pt x="472" y="468"/>
                  </a:lnTo>
                  <a:lnTo>
                    <a:pt x="472" y="488"/>
                  </a:lnTo>
                  <a:lnTo>
                    <a:pt x="466" y="506"/>
                  </a:lnTo>
                  <a:lnTo>
                    <a:pt x="466" y="522"/>
                  </a:lnTo>
                  <a:lnTo>
                    <a:pt x="458" y="530"/>
                  </a:lnTo>
                  <a:lnTo>
                    <a:pt x="452" y="548"/>
                  </a:lnTo>
                  <a:lnTo>
                    <a:pt x="452" y="568"/>
                  </a:lnTo>
                  <a:lnTo>
                    <a:pt x="452" y="584"/>
                  </a:lnTo>
                  <a:lnTo>
                    <a:pt x="444" y="600"/>
                  </a:lnTo>
                  <a:lnTo>
                    <a:pt x="436" y="618"/>
                  </a:lnTo>
                  <a:lnTo>
                    <a:pt x="432" y="636"/>
                  </a:lnTo>
                  <a:lnTo>
                    <a:pt x="418" y="646"/>
                  </a:lnTo>
                  <a:lnTo>
                    <a:pt x="418" y="652"/>
                  </a:lnTo>
                  <a:lnTo>
                    <a:pt x="412" y="652"/>
                  </a:lnTo>
                  <a:lnTo>
                    <a:pt x="398" y="636"/>
                  </a:lnTo>
                  <a:lnTo>
                    <a:pt x="388" y="620"/>
                  </a:lnTo>
                  <a:lnTo>
                    <a:pt x="384" y="618"/>
                  </a:lnTo>
                  <a:lnTo>
                    <a:pt x="376" y="610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66"/>
            <p:cNvSpPr>
              <a:spLocks/>
            </p:cNvSpPr>
            <p:nvPr/>
          </p:nvSpPr>
          <p:spPr bwMode="auto">
            <a:xfrm>
              <a:off x="3592632" y="4013747"/>
              <a:ext cx="215254" cy="322881"/>
            </a:xfrm>
            <a:custGeom>
              <a:avLst/>
              <a:gdLst>
                <a:gd name="T0" fmla="*/ 62 w 144"/>
                <a:gd name="T1" fmla="*/ 206 h 216"/>
                <a:gd name="T2" fmla="*/ 82 w 144"/>
                <a:gd name="T3" fmla="*/ 198 h 216"/>
                <a:gd name="T4" fmla="*/ 94 w 144"/>
                <a:gd name="T5" fmla="*/ 182 h 216"/>
                <a:gd name="T6" fmla="*/ 94 w 144"/>
                <a:gd name="T7" fmla="*/ 164 h 216"/>
                <a:gd name="T8" fmla="*/ 102 w 144"/>
                <a:gd name="T9" fmla="*/ 146 h 216"/>
                <a:gd name="T10" fmla="*/ 116 w 144"/>
                <a:gd name="T11" fmla="*/ 130 h 216"/>
                <a:gd name="T12" fmla="*/ 130 w 144"/>
                <a:gd name="T13" fmla="*/ 122 h 216"/>
                <a:gd name="T14" fmla="*/ 144 w 144"/>
                <a:gd name="T15" fmla="*/ 104 h 216"/>
                <a:gd name="T16" fmla="*/ 136 w 144"/>
                <a:gd name="T17" fmla="*/ 86 h 216"/>
                <a:gd name="T18" fmla="*/ 136 w 144"/>
                <a:gd name="T19" fmla="*/ 70 h 216"/>
                <a:gd name="T20" fmla="*/ 136 w 144"/>
                <a:gd name="T21" fmla="*/ 52 h 216"/>
                <a:gd name="T22" fmla="*/ 144 w 144"/>
                <a:gd name="T23" fmla="*/ 34 h 216"/>
                <a:gd name="T24" fmla="*/ 130 w 144"/>
                <a:gd name="T25" fmla="*/ 16 h 216"/>
                <a:gd name="T26" fmla="*/ 120 w 144"/>
                <a:gd name="T27" fmla="*/ 2 h 216"/>
                <a:gd name="T28" fmla="*/ 116 w 144"/>
                <a:gd name="T29" fmla="*/ 0 h 216"/>
                <a:gd name="T30" fmla="*/ 102 w 144"/>
                <a:gd name="T31" fmla="*/ 0 h 216"/>
                <a:gd name="T32" fmla="*/ 88 w 144"/>
                <a:gd name="T33" fmla="*/ 0 h 216"/>
                <a:gd name="T34" fmla="*/ 74 w 144"/>
                <a:gd name="T35" fmla="*/ 8 h 216"/>
                <a:gd name="T36" fmla="*/ 68 w 144"/>
                <a:gd name="T37" fmla="*/ 28 h 216"/>
                <a:gd name="T38" fmla="*/ 68 w 144"/>
                <a:gd name="T39" fmla="*/ 44 h 216"/>
                <a:gd name="T40" fmla="*/ 68 w 144"/>
                <a:gd name="T41" fmla="*/ 60 h 216"/>
                <a:gd name="T42" fmla="*/ 68 w 144"/>
                <a:gd name="T43" fmla="*/ 78 h 216"/>
                <a:gd name="T44" fmla="*/ 68 w 144"/>
                <a:gd name="T45" fmla="*/ 96 h 216"/>
                <a:gd name="T46" fmla="*/ 62 w 144"/>
                <a:gd name="T47" fmla="*/ 112 h 216"/>
                <a:gd name="T48" fmla="*/ 48 w 144"/>
                <a:gd name="T49" fmla="*/ 122 h 216"/>
                <a:gd name="T50" fmla="*/ 40 w 144"/>
                <a:gd name="T51" fmla="*/ 138 h 216"/>
                <a:gd name="T52" fmla="*/ 26 w 144"/>
                <a:gd name="T53" fmla="*/ 156 h 216"/>
                <a:gd name="T54" fmla="*/ 14 w 144"/>
                <a:gd name="T55" fmla="*/ 146 h 216"/>
                <a:gd name="T56" fmla="*/ 0 w 144"/>
                <a:gd name="T57" fmla="*/ 164 h 216"/>
                <a:gd name="T58" fmla="*/ 0 w 144"/>
                <a:gd name="T59" fmla="*/ 182 h 216"/>
                <a:gd name="T60" fmla="*/ 0 w 144"/>
                <a:gd name="T61" fmla="*/ 190 h 216"/>
                <a:gd name="T62" fmla="*/ 6 w 144"/>
                <a:gd name="T63" fmla="*/ 206 h 216"/>
                <a:gd name="T64" fmla="*/ 26 w 144"/>
                <a:gd name="T65" fmla="*/ 216 h 216"/>
                <a:gd name="T66" fmla="*/ 40 w 144"/>
                <a:gd name="T67" fmla="*/ 216 h 216"/>
                <a:gd name="T68" fmla="*/ 48 w 144"/>
                <a:gd name="T69" fmla="*/ 216 h 216"/>
                <a:gd name="T70" fmla="*/ 54 w 144"/>
                <a:gd name="T71" fmla="*/ 216 h 216"/>
                <a:gd name="T72" fmla="*/ 62 w 144"/>
                <a:gd name="T73" fmla="*/ 20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4" h="216">
                  <a:moveTo>
                    <a:pt x="62" y="206"/>
                  </a:moveTo>
                  <a:lnTo>
                    <a:pt x="82" y="198"/>
                  </a:lnTo>
                  <a:lnTo>
                    <a:pt x="94" y="182"/>
                  </a:lnTo>
                  <a:lnTo>
                    <a:pt x="94" y="164"/>
                  </a:lnTo>
                  <a:lnTo>
                    <a:pt x="102" y="146"/>
                  </a:lnTo>
                  <a:lnTo>
                    <a:pt x="116" y="130"/>
                  </a:lnTo>
                  <a:lnTo>
                    <a:pt x="130" y="122"/>
                  </a:lnTo>
                  <a:lnTo>
                    <a:pt x="144" y="104"/>
                  </a:lnTo>
                  <a:lnTo>
                    <a:pt x="136" y="86"/>
                  </a:lnTo>
                  <a:lnTo>
                    <a:pt x="136" y="70"/>
                  </a:lnTo>
                  <a:lnTo>
                    <a:pt x="136" y="52"/>
                  </a:lnTo>
                  <a:lnTo>
                    <a:pt x="144" y="34"/>
                  </a:lnTo>
                  <a:lnTo>
                    <a:pt x="130" y="16"/>
                  </a:lnTo>
                  <a:lnTo>
                    <a:pt x="120" y="2"/>
                  </a:lnTo>
                  <a:lnTo>
                    <a:pt x="116" y="0"/>
                  </a:lnTo>
                  <a:lnTo>
                    <a:pt x="102" y="0"/>
                  </a:lnTo>
                  <a:lnTo>
                    <a:pt x="88" y="0"/>
                  </a:lnTo>
                  <a:lnTo>
                    <a:pt x="74" y="8"/>
                  </a:lnTo>
                  <a:lnTo>
                    <a:pt x="68" y="28"/>
                  </a:lnTo>
                  <a:lnTo>
                    <a:pt x="68" y="44"/>
                  </a:lnTo>
                  <a:lnTo>
                    <a:pt x="68" y="60"/>
                  </a:lnTo>
                  <a:lnTo>
                    <a:pt x="68" y="78"/>
                  </a:lnTo>
                  <a:lnTo>
                    <a:pt x="68" y="96"/>
                  </a:lnTo>
                  <a:lnTo>
                    <a:pt x="62" y="112"/>
                  </a:lnTo>
                  <a:lnTo>
                    <a:pt x="48" y="122"/>
                  </a:lnTo>
                  <a:lnTo>
                    <a:pt x="40" y="138"/>
                  </a:lnTo>
                  <a:lnTo>
                    <a:pt x="26" y="156"/>
                  </a:lnTo>
                  <a:lnTo>
                    <a:pt x="14" y="146"/>
                  </a:lnTo>
                  <a:lnTo>
                    <a:pt x="0" y="164"/>
                  </a:lnTo>
                  <a:lnTo>
                    <a:pt x="0" y="182"/>
                  </a:lnTo>
                  <a:lnTo>
                    <a:pt x="0" y="190"/>
                  </a:lnTo>
                  <a:lnTo>
                    <a:pt x="6" y="206"/>
                  </a:lnTo>
                  <a:lnTo>
                    <a:pt x="26" y="216"/>
                  </a:lnTo>
                  <a:lnTo>
                    <a:pt x="40" y="216"/>
                  </a:lnTo>
                  <a:lnTo>
                    <a:pt x="48" y="216"/>
                  </a:lnTo>
                  <a:lnTo>
                    <a:pt x="54" y="216"/>
                  </a:lnTo>
                  <a:lnTo>
                    <a:pt x="62" y="206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67"/>
            <p:cNvSpPr>
              <a:spLocks/>
            </p:cNvSpPr>
            <p:nvPr/>
          </p:nvSpPr>
          <p:spPr bwMode="auto">
            <a:xfrm>
              <a:off x="3592632" y="4013747"/>
              <a:ext cx="215254" cy="322881"/>
            </a:xfrm>
            <a:custGeom>
              <a:avLst/>
              <a:gdLst>
                <a:gd name="T0" fmla="*/ 62 w 144"/>
                <a:gd name="T1" fmla="*/ 206 h 216"/>
                <a:gd name="T2" fmla="*/ 82 w 144"/>
                <a:gd name="T3" fmla="*/ 198 h 216"/>
                <a:gd name="T4" fmla="*/ 94 w 144"/>
                <a:gd name="T5" fmla="*/ 182 h 216"/>
                <a:gd name="T6" fmla="*/ 94 w 144"/>
                <a:gd name="T7" fmla="*/ 164 h 216"/>
                <a:gd name="T8" fmla="*/ 102 w 144"/>
                <a:gd name="T9" fmla="*/ 146 h 216"/>
                <a:gd name="T10" fmla="*/ 116 w 144"/>
                <a:gd name="T11" fmla="*/ 130 h 216"/>
                <a:gd name="T12" fmla="*/ 130 w 144"/>
                <a:gd name="T13" fmla="*/ 122 h 216"/>
                <a:gd name="T14" fmla="*/ 144 w 144"/>
                <a:gd name="T15" fmla="*/ 104 h 216"/>
                <a:gd name="T16" fmla="*/ 136 w 144"/>
                <a:gd name="T17" fmla="*/ 86 h 216"/>
                <a:gd name="T18" fmla="*/ 136 w 144"/>
                <a:gd name="T19" fmla="*/ 70 h 216"/>
                <a:gd name="T20" fmla="*/ 136 w 144"/>
                <a:gd name="T21" fmla="*/ 52 h 216"/>
                <a:gd name="T22" fmla="*/ 144 w 144"/>
                <a:gd name="T23" fmla="*/ 34 h 216"/>
                <a:gd name="T24" fmla="*/ 130 w 144"/>
                <a:gd name="T25" fmla="*/ 16 h 216"/>
                <a:gd name="T26" fmla="*/ 120 w 144"/>
                <a:gd name="T27" fmla="*/ 2 h 216"/>
                <a:gd name="T28" fmla="*/ 116 w 144"/>
                <a:gd name="T29" fmla="*/ 0 h 216"/>
                <a:gd name="T30" fmla="*/ 102 w 144"/>
                <a:gd name="T31" fmla="*/ 0 h 216"/>
                <a:gd name="T32" fmla="*/ 88 w 144"/>
                <a:gd name="T33" fmla="*/ 0 h 216"/>
                <a:gd name="T34" fmla="*/ 74 w 144"/>
                <a:gd name="T35" fmla="*/ 8 h 216"/>
                <a:gd name="T36" fmla="*/ 68 w 144"/>
                <a:gd name="T37" fmla="*/ 28 h 216"/>
                <a:gd name="T38" fmla="*/ 68 w 144"/>
                <a:gd name="T39" fmla="*/ 44 h 216"/>
                <a:gd name="T40" fmla="*/ 68 w 144"/>
                <a:gd name="T41" fmla="*/ 60 h 216"/>
                <a:gd name="T42" fmla="*/ 68 w 144"/>
                <a:gd name="T43" fmla="*/ 78 h 216"/>
                <a:gd name="T44" fmla="*/ 68 w 144"/>
                <a:gd name="T45" fmla="*/ 96 h 216"/>
                <a:gd name="T46" fmla="*/ 62 w 144"/>
                <a:gd name="T47" fmla="*/ 112 h 216"/>
                <a:gd name="T48" fmla="*/ 48 w 144"/>
                <a:gd name="T49" fmla="*/ 122 h 216"/>
                <a:gd name="T50" fmla="*/ 40 w 144"/>
                <a:gd name="T51" fmla="*/ 138 h 216"/>
                <a:gd name="T52" fmla="*/ 26 w 144"/>
                <a:gd name="T53" fmla="*/ 156 h 216"/>
                <a:gd name="T54" fmla="*/ 14 w 144"/>
                <a:gd name="T55" fmla="*/ 146 h 216"/>
                <a:gd name="T56" fmla="*/ 0 w 144"/>
                <a:gd name="T57" fmla="*/ 164 h 216"/>
                <a:gd name="T58" fmla="*/ 0 w 144"/>
                <a:gd name="T59" fmla="*/ 182 h 216"/>
                <a:gd name="T60" fmla="*/ 0 w 144"/>
                <a:gd name="T61" fmla="*/ 190 h 216"/>
                <a:gd name="T62" fmla="*/ 6 w 144"/>
                <a:gd name="T63" fmla="*/ 206 h 216"/>
                <a:gd name="T64" fmla="*/ 26 w 144"/>
                <a:gd name="T65" fmla="*/ 216 h 216"/>
                <a:gd name="T66" fmla="*/ 40 w 144"/>
                <a:gd name="T67" fmla="*/ 216 h 216"/>
                <a:gd name="T68" fmla="*/ 48 w 144"/>
                <a:gd name="T69" fmla="*/ 216 h 216"/>
                <a:gd name="T70" fmla="*/ 54 w 144"/>
                <a:gd name="T71" fmla="*/ 216 h 216"/>
                <a:gd name="T72" fmla="*/ 62 w 144"/>
                <a:gd name="T73" fmla="*/ 20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4" h="216">
                  <a:moveTo>
                    <a:pt x="62" y="206"/>
                  </a:moveTo>
                  <a:lnTo>
                    <a:pt x="82" y="198"/>
                  </a:lnTo>
                  <a:lnTo>
                    <a:pt x="94" y="182"/>
                  </a:lnTo>
                  <a:lnTo>
                    <a:pt x="94" y="164"/>
                  </a:lnTo>
                  <a:lnTo>
                    <a:pt x="102" y="146"/>
                  </a:lnTo>
                  <a:lnTo>
                    <a:pt x="116" y="130"/>
                  </a:lnTo>
                  <a:lnTo>
                    <a:pt x="130" y="122"/>
                  </a:lnTo>
                  <a:lnTo>
                    <a:pt x="144" y="104"/>
                  </a:lnTo>
                  <a:lnTo>
                    <a:pt x="136" y="86"/>
                  </a:lnTo>
                  <a:lnTo>
                    <a:pt x="136" y="70"/>
                  </a:lnTo>
                  <a:lnTo>
                    <a:pt x="136" y="52"/>
                  </a:lnTo>
                  <a:lnTo>
                    <a:pt x="144" y="34"/>
                  </a:lnTo>
                  <a:lnTo>
                    <a:pt x="130" y="16"/>
                  </a:lnTo>
                  <a:lnTo>
                    <a:pt x="120" y="2"/>
                  </a:lnTo>
                  <a:lnTo>
                    <a:pt x="116" y="0"/>
                  </a:lnTo>
                  <a:lnTo>
                    <a:pt x="102" y="0"/>
                  </a:lnTo>
                  <a:lnTo>
                    <a:pt x="88" y="0"/>
                  </a:lnTo>
                  <a:lnTo>
                    <a:pt x="74" y="8"/>
                  </a:lnTo>
                  <a:lnTo>
                    <a:pt x="68" y="28"/>
                  </a:lnTo>
                  <a:lnTo>
                    <a:pt x="68" y="44"/>
                  </a:lnTo>
                  <a:lnTo>
                    <a:pt x="68" y="60"/>
                  </a:lnTo>
                  <a:lnTo>
                    <a:pt x="68" y="78"/>
                  </a:lnTo>
                  <a:lnTo>
                    <a:pt x="68" y="96"/>
                  </a:lnTo>
                  <a:lnTo>
                    <a:pt x="62" y="112"/>
                  </a:lnTo>
                  <a:lnTo>
                    <a:pt x="48" y="122"/>
                  </a:lnTo>
                  <a:lnTo>
                    <a:pt x="40" y="138"/>
                  </a:lnTo>
                  <a:lnTo>
                    <a:pt x="26" y="156"/>
                  </a:lnTo>
                  <a:lnTo>
                    <a:pt x="14" y="146"/>
                  </a:lnTo>
                  <a:lnTo>
                    <a:pt x="0" y="164"/>
                  </a:lnTo>
                  <a:lnTo>
                    <a:pt x="0" y="182"/>
                  </a:lnTo>
                  <a:lnTo>
                    <a:pt x="0" y="190"/>
                  </a:lnTo>
                  <a:lnTo>
                    <a:pt x="6" y="206"/>
                  </a:lnTo>
                  <a:lnTo>
                    <a:pt x="26" y="216"/>
                  </a:lnTo>
                  <a:lnTo>
                    <a:pt x="40" y="216"/>
                  </a:lnTo>
                  <a:lnTo>
                    <a:pt x="48" y="216"/>
                  </a:lnTo>
                  <a:lnTo>
                    <a:pt x="54" y="216"/>
                  </a:lnTo>
                  <a:lnTo>
                    <a:pt x="62" y="206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68"/>
            <p:cNvSpPr>
              <a:spLocks/>
            </p:cNvSpPr>
            <p:nvPr/>
          </p:nvSpPr>
          <p:spPr bwMode="auto">
            <a:xfrm>
              <a:off x="3308616" y="4297762"/>
              <a:ext cx="364736" cy="209275"/>
            </a:xfrm>
            <a:custGeom>
              <a:avLst/>
              <a:gdLst>
                <a:gd name="T0" fmla="*/ 244 w 244"/>
                <a:gd name="T1" fmla="*/ 26 h 140"/>
                <a:gd name="T2" fmla="*/ 238 w 244"/>
                <a:gd name="T3" fmla="*/ 26 h 140"/>
                <a:gd name="T4" fmla="*/ 230 w 244"/>
                <a:gd name="T5" fmla="*/ 26 h 140"/>
                <a:gd name="T6" fmla="*/ 216 w 244"/>
                <a:gd name="T7" fmla="*/ 26 h 140"/>
                <a:gd name="T8" fmla="*/ 198 w 244"/>
                <a:gd name="T9" fmla="*/ 16 h 140"/>
                <a:gd name="T10" fmla="*/ 190 w 244"/>
                <a:gd name="T11" fmla="*/ 0 h 140"/>
                <a:gd name="T12" fmla="*/ 190 w 244"/>
                <a:gd name="T13" fmla="*/ 2 h 140"/>
                <a:gd name="T14" fmla="*/ 184 w 244"/>
                <a:gd name="T15" fmla="*/ 6 h 140"/>
                <a:gd name="T16" fmla="*/ 176 w 244"/>
                <a:gd name="T17" fmla="*/ 26 h 140"/>
                <a:gd name="T18" fmla="*/ 170 w 244"/>
                <a:gd name="T19" fmla="*/ 44 h 140"/>
                <a:gd name="T20" fmla="*/ 156 w 244"/>
                <a:gd name="T21" fmla="*/ 60 h 140"/>
                <a:gd name="T22" fmla="*/ 136 w 244"/>
                <a:gd name="T23" fmla="*/ 70 h 140"/>
                <a:gd name="T24" fmla="*/ 122 w 244"/>
                <a:gd name="T25" fmla="*/ 70 h 140"/>
                <a:gd name="T26" fmla="*/ 108 w 244"/>
                <a:gd name="T27" fmla="*/ 78 h 140"/>
                <a:gd name="T28" fmla="*/ 94 w 244"/>
                <a:gd name="T29" fmla="*/ 78 h 140"/>
                <a:gd name="T30" fmla="*/ 80 w 244"/>
                <a:gd name="T31" fmla="*/ 78 h 140"/>
                <a:gd name="T32" fmla="*/ 66 w 244"/>
                <a:gd name="T33" fmla="*/ 78 h 140"/>
                <a:gd name="T34" fmla="*/ 54 w 244"/>
                <a:gd name="T35" fmla="*/ 70 h 140"/>
                <a:gd name="T36" fmla="*/ 42 w 244"/>
                <a:gd name="T37" fmla="*/ 78 h 140"/>
                <a:gd name="T38" fmla="*/ 28 w 244"/>
                <a:gd name="T39" fmla="*/ 78 h 140"/>
                <a:gd name="T40" fmla="*/ 14 w 244"/>
                <a:gd name="T41" fmla="*/ 96 h 140"/>
                <a:gd name="T42" fmla="*/ 14 w 244"/>
                <a:gd name="T43" fmla="*/ 114 h 140"/>
                <a:gd name="T44" fmla="*/ 0 w 244"/>
                <a:gd name="T45" fmla="*/ 120 h 140"/>
                <a:gd name="T46" fmla="*/ 0 w 244"/>
                <a:gd name="T47" fmla="*/ 140 h 140"/>
                <a:gd name="T48" fmla="*/ 14 w 244"/>
                <a:gd name="T49" fmla="*/ 132 h 140"/>
                <a:gd name="T50" fmla="*/ 28 w 244"/>
                <a:gd name="T51" fmla="*/ 120 h 140"/>
                <a:gd name="T52" fmla="*/ 42 w 244"/>
                <a:gd name="T53" fmla="*/ 120 h 140"/>
                <a:gd name="T54" fmla="*/ 54 w 244"/>
                <a:gd name="T55" fmla="*/ 132 h 140"/>
                <a:gd name="T56" fmla="*/ 66 w 244"/>
                <a:gd name="T57" fmla="*/ 140 h 140"/>
                <a:gd name="T58" fmla="*/ 80 w 244"/>
                <a:gd name="T59" fmla="*/ 140 h 140"/>
                <a:gd name="T60" fmla="*/ 94 w 244"/>
                <a:gd name="T61" fmla="*/ 132 h 140"/>
                <a:gd name="T62" fmla="*/ 108 w 244"/>
                <a:gd name="T63" fmla="*/ 120 h 140"/>
                <a:gd name="T64" fmla="*/ 122 w 244"/>
                <a:gd name="T65" fmla="*/ 132 h 140"/>
                <a:gd name="T66" fmla="*/ 136 w 244"/>
                <a:gd name="T67" fmla="*/ 140 h 140"/>
                <a:gd name="T68" fmla="*/ 148 w 244"/>
                <a:gd name="T69" fmla="*/ 140 h 140"/>
                <a:gd name="T70" fmla="*/ 162 w 244"/>
                <a:gd name="T71" fmla="*/ 132 h 140"/>
                <a:gd name="T72" fmla="*/ 170 w 244"/>
                <a:gd name="T73" fmla="*/ 114 h 140"/>
                <a:gd name="T74" fmla="*/ 184 w 244"/>
                <a:gd name="T75" fmla="*/ 96 h 140"/>
                <a:gd name="T76" fmla="*/ 198 w 244"/>
                <a:gd name="T77" fmla="*/ 86 h 140"/>
                <a:gd name="T78" fmla="*/ 204 w 244"/>
                <a:gd name="T79" fmla="*/ 86 h 140"/>
                <a:gd name="T80" fmla="*/ 216 w 244"/>
                <a:gd name="T81" fmla="*/ 86 h 140"/>
                <a:gd name="T82" fmla="*/ 230 w 244"/>
                <a:gd name="T83" fmla="*/ 78 h 140"/>
                <a:gd name="T84" fmla="*/ 238 w 244"/>
                <a:gd name="T85" fmla="*/ 60 h 140"/>
                <a:gd name="T86" fmla="*/ 238 w 244"/>
                <a:gd name="T87" fmla="*/ 44 h 140"/>
                <a:gd name="T88" fmla="*/ 244 w 244"/>
                <a:gd name="T89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40">
                  <a:moveTo>
                    <a:pt x="244" y="26"/>
                  </a:moveTo>
                  <a:lnTo>
                    <a:pt x="238" y="26"/>
                  </a:lnTo>
                  <a:lnTo>
                    <a:pt x="230" y="26"/>
                  </a:lnTo>
                  <a:lnTo>
                    <a:pt x="216" y="26"/>
                  </a:lnTo>
                  <a:lnTo>
                    <a:pt x="198" y="16"/>
                  </a:lnTo>
                  <a:lnTo>
                    <a:pt x="190" y="0"/>
                  </a:lnTo>
                  <a:lnTo>
                    <a:pt x="190" y="2"/>
                  </a:lnTo>
                  <a:lnTo>
                    <a:pt x="184" y="6"/>
                  </a:lnTo>
                  <a:lnTo>
                    <a:pt x="176" y="26"/>
                  </a:lnTo>
                  <a:lnTo>
                    <a:pt x="170" y="44"/>
                  </a:lnTo>
                  <a:lnTo>
                    <a:pt x="156" y="60"/>
                  </a:lnTo>
                  <a:lnTo>
                    <a:pt x="136" y="70"/>
                  </a:lnTo>
                  <a:lnTo>
                    <a:pt x="122" y="70"/>
                  </a:lnTo>
                  <a:lnTo>
                    <a:pt x="108" y="78"/>
                  </a:lnTo>
                  <a:lnTo>
                    <a:pt x="94" y="78"/>
                  </a:lnTo>
                  <a:lnTo>
                    <a:pt x="80" y="78"/>
                  </a:lnTo>
                  <a:lnTo>
                    <a:pt x="66" y="78"/>
                  </a:lnTo>
                  <a:lnTo>
                    <a:pt x="54" y="70"/>
                  </a:lnTo>
                  <a:lnTo>
                    <a:pt x="42" y="78"/>
                  </a:lnTo>
                  <a:lnTo>
                    <a:pt x="28" y="78"/>
                  </a:lnTo>
                  <a:lnTo>
                    <a:pt x="14" y="96"/>
                  </a:lnTo>
                  <a:lnTo>
                    <a:pt x="14" y="114"/>
                  </a:lnTo>
                  <a:lnTo>
                    <a:pt x="0" y="120"/>
                  </a:lnTo>
                  <a:lnTo>
                    <a:pt x="0" y="140"/>
                  </a:lnTo>
                  <a:lnTo>
                    <a:pt x="14" y="132"/>
                  </a:lnTo>
                  <a:lnTo>
                    <a:pt x="28" y="120"/>
                  </a:lnTo>
                  <a:lnTo>
                    <a:pt x="42" y="120"/>
                  </a:lnTo>
                  <a:lnTo>
                    <a:pt x="54" y="132"/>
                  </a:lnTo>
                  <a:lnTo>
                    <a:pt x="66" y="140"/>
                  </a:lnTo>
                  <a:lnTo>
                    <a:pt x="80" y="140"/>
                  </a:lnTo>
                  <a:lnTo>
                    <a:pt x="94" y="132"/>
                  </a:lnTo>
                  <a:lnTo>
                    <a:pt x="108" y="120"/>
                  </a:lnTo>
                  <a:lnTo>
                    <a:pt x="122" y="132"/>
                  </a:lnTo>
                  <a:lnTo>
                    <a:pt x="136" y="140"/>
                  </a:lnTo>
                  <a:lnTo>
                    <a:pt x="148" y="140"/>
                  </a:lnTo>
                  <a:lnTo>
                    <a:pt x="162" y="132"/>
                  </a:lnTo>
                  <a:lnTo>
                    <a:pt x="170" y="114"/>
                  </a:lnTo>
                  <a:lnTo>
                    <a:pt x="184" y="96"/>
                  </a:lnTo>
                  <a:lnTo>
                    <a:pt x="198" y="86"/>
                  </a:lnTo>
                  <a:lnTo>
                    <a:pt x="204" y="86"/>
                  </a:lnTo>
                  <a:lnTo>
                    <a:pt x="216" y="86"/>
                  </a:lnTo>
                  <a:lnTo>
                    <a:pt x="230" y="78"/>
                  </a:lnTo>
                  <a:lnTo>
                    <a:pt x="238" y="60"/>
                  </a:lnTo>
                  <a:lnTo>
                    <a:pt x="238" y="44"/>
                  </a:lnTo>
                  <a:lnTo>
                    <a:pt x="244" y="26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69"/>
            <p:cNvSpPr>
              <a:spLocks/>
            </p:cNvSpPr>
            <p:nvPr/>
          </p:nvSpPr>
          <p:spPr bwMode="auto">
            <a:xfrm>
              <a:off x="3308616" y="4297762"/>
              <a:ext cx="364736" cy="209275"/>
            </a:xfrm>
            <a:custGeom>
              <a:avLst/>
              <a:gdLst>
                <a:gd name="T0" fmla="*/ 244 w 244"/>
                <a:gd name="T1" fmla="*/ 26 h 140"/>
                <a:gd name="T2" fmla="*/ 238 w 244"/>
                <a:gd name="T3" fmla="*/ 26 h 140"/>
                <a:gd name="T4" fmla="*/ 230 w 244"/>
                <a:gd name="T5" fmla="*/ 26 h 140"/>
                <a:gd name="T6" fmla="*/ 216 w 244"/>
                <a:gd name="T7" fmla="*/ 26 h 140"/>
                <a:gd name="T8" fmla="*/ 198 w 244"/>
                <a:gd name="T9" fmla="*/ 16 h 140"/>
                <a:gd name="T10" fmla="*/ 190 w 244"/>
                <a:gd name="T11" fmla="*/ 0 h 140"/>
                <a:gd name="T12" fmla="*/ 190 w 244"/>
                <a:gd name="T13" fmla="*/ 2 h 140"/>
                <a:gd name="T14" fmla="*/ 184 w 244"/>
                <a:gd name="T15" fmla="*/ 6 h 140"/>
                <a:gd name="T16" fmla="*/ 176 w 244"/>
                <a:gd name="T17" fmla="*/ 26 h 140"/>
                <a:gd name="T18" fmla="*/ 170 w 244"/>
                <a:gd name="T19" fmla="*/ 44 h 140"/>
                <a:gd name="T20" fmla="*/ 156 w 244"/>
                <a:gd name="T21" fmla="*/ 60 h 140"/>
                <a:gd name="T22" fmla="*/ 136 w 244"/>
                <a:gd name="T23" fmla="*/ 70 h 140"/>
                <a:gd name="T24" fmla="*/ 122 w 244"/>
                <a:gd name="T25" fmla="*/ 70 h 140"/>
                <a:gd name="T26" fmla="*/ 108 w 244"/>
                <a:gd name="T27" fmla="*/ 78 h 140"/>
                <a:gd name="T28" fmla="*/ 94 w 244"/>
                <a:gd name="T29" fmla="*/ 78 h 140"/>
                <a:gd name="T30" fmla="*/ 80 w 244"/>
                <a:gd name="T31" fmla="*/ 78 h 140"/>
                <a:gd name="T32" fmla="*/ 66 w 244"/>
                <a:gd name="T33" fmla="*/ 78 h 140"/>
                <a:gd name="T34" fmla="*/ 54 w 244"/>
                <a:gd name="T35" fmla="*/ 70 h 140"/>
                <a:gd name="T36" fmla="*/ 42 w 244"/>
                <a:gd name="T37" fmla="*/ 78 h 140"/>
                <a:gd name="T38" fmla="*/ 28 w 244"/>
                <a:gd name="T39" fmla="*/ 78 h 140"/>
                <a:gd name="T40" fmla="*/ 14 w 244"/>
                <a:gd name="T41" fmla="*/ 96 h 140"/>
                <a:gd name="T42" fmla="*/ 14 w 244"/>
                <a:gd name="T43" fmla="*/ 114 h 140"/>
                <a:gd name="T44" fmla="*/ 0 w 244"/>
                <a:gd name="T45" fmla="*/ 120 h 140"/>
                <a:gd name="T46" fmla="*/ 0 w 244"/>
                <a:gd name="T47" fmla="*/ 140 h 140"/>
                <a:gd name="T48" fmla="*/ 14 w 244"/>
                <a:gd name="T49" fmla="*/ 132 h 140"/>
                <a:gd name="T50" fmla="*/ 28 w 244"/>
                <a:gd name="T51" fmla="*/ 120 h 140"/>
                <a:gd name="T52" fmla="*/ 42 w 244"/>
                <a:gd name="T53" fmla="*/ 120 h 140"/>
                <a:gd name="T54" fmla="*/ 54 w 244"/>
                <a:gd name="T55" fmla="*/ 132 h 140"/>
                <a:gd name="T56" fmla="*/ 66 w 244"/>
                <a:gd name="T57" fmla="*/ 140 h 140"/>
                <a:gd name="T58" fmla="*/ 80 w 244"/>
                <a:gd name="T59" fmla="*/ 140 h 140"/>
                <a:gd name="T60" fmla="*/ 94 w 244"/>
                <a:gd name="T61" fmla="*/ 132 h 140"/>
                <a:gd name="T62" fmla="*/ 108 w 244"/>
                <a:gd name="T63" fmla="*/ 120 h 140"/>
                <a:gd name="T64" fmla="*/ 122 w 244"/>
                <a:gd name="T65" fmla="*/ 132 h 140"/>
                <a:gd name="T66" fmla="*/ 136 w 244"/>
                <a:gd name="T67" fmla="*/ 140 h 140"/>
                <a:gd name="T68" fmla="*/ 148 w 244"/>
                <a:gd name="T69" fmla="*/ 140 h 140"/>
                <a:gd name="T70" fmla="*/ 162 w 244"/>
                <a:gd name="T71" fmla="*/ 132 h 140"/>
                <a:gd name="T72" fmla="*/ 170 w 244"/>
                <a:gd name="T73" fmla="*/ 114 h 140"/>
                <a:gd name="T74" fmla="*/ 184 w 244"/>
                <a:gd name="T75" fmla="*/ 96 h 140"/>
                <a:gd name="T76" fmla="*/ 198 w 244"/>
                <a:gd name="T77" fmla="*/ 86 h 140"/>
                <a:gd name="T78" fmla="*/ 204 w 244"/>
                <a:gd name="T79" fmla="*/ 86 h 140"/>
                <a:gd name="T80" fmla="*/ 216 w 244"/>
                <a:gd name="T81" fmla="*/ 86 h 140"/>
                <a:gd name="T82" fmla="*/ 230 w 244"/>
                <a:gd name="T83" fmla="*/ 78 h 140"/>
                <a:gd name="T84" fmla="*/ 238 w 244"/>
                <a:gd name="T85" fmla="*/ 60 h 140"/>
                <a:gd name="T86" fmla="*/ 238 w 244"/>
                <a:gd name="T87" fmla="*/ 44 h 140"/>
                <a:gd name="T88" fmla="*/ 244 w 244"/>
                <a:gd name="T89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40">
                  <a:moveTo>
                    <a:pt x="244" y="26"/>
                  </a:moveTo>
                  <a:lnTo>
                    <a:pt x="238" y="26"/>
                  </a:lnTo>
                  <a:lnTo>
                    <a:pt x="230" y="26"/>
                  </a:lnTo>
                  <a:lnTo>
                    <a:pt x="216" y="26"/>
                  </a:lnTo>
                  <a:lnTo>
                    <a:pt x="198" y="16"/>
                  </a:lnTo>
                  <a:lnTo>
                    <a:pt x="190" y="0"/>
                  </a:lnTo>
                  <a:lnTo>
                    <a:pt x="190" y="2"/>
                  </a:lnTo>
                  <a:lnTo>
                    <a:pt x="184" y="6"/>
                  </a:lnTo>
                  <a:lnTo>
                    <a:pt x="176" y="26"/>
                  </a:lnTo>
                  <a:lnTo>
                    <a:pt x="170" y="44"/>
                  </a:lnTo>
                  <a:lnTo>
                    <a:pt x="156" y="60"/>
                  </a:lnTo>
                  <a:lnTo>
                    <a:pt x="136" y="70"/>
                  </a:lnTo>
                  <a:lnTo>
                    <a:pt x="122" y="70"/>
                  </a:lnTo>
                  <a:lnTo>
                    <a:pt x="108" y="78"/>
                  </a:lnTo>
                  <a:lnTo>
                    <a:pt x="94" y="78"/>
                  </a:lnTo>
                  <a:lnTo>
                    <a:pt x="80" y="78"/>
                  </a:lnTo>
                  <a:lnTo>
                    <a:pt x="66" y="78"/>
                  </a:lnTo>
                  <a:lnTo>
                    <a:pt x="54" y="70"/>
                  </a:lnTo>
                  <a:lnTo>
                    <a:pt x="42" y="78"/>
                  </a:lnTo>
                  <a:lnTo>
                    <a:pt x="28" y="78"/>
                  </a:lnTo>
                  <a:lnTo>
                    <a:pt x="14" y="96"/>
                  </a:lnTo>
                  <a:lnTo>
                    <a:pt x="14" y="114"/>
                  </a:lnTo>
                  <a:lnTo>
                    <a:pt x="0" y="120"/>
                  </a:lnTo>
                  <a:lnTo>
                    <a:pt x="0" y="140"/>
                  </a:lnTo>
                  <a:lnTo>
                    <a:pt x="14" y="132"/>
                  </a:lnTo>
                  <a:lnTo>
                    <a:pt x="28" y="120"/>
                  </a:lnTo>
                  <a:lnTo>
                    <a:pt x="42" y="120"/>
                  </a:lnTo>
                  <a:lnTo>
                    <a:pt x="54" y="132"/>
                  </a:lnTo>
                  <a:lnTo>
                    <a:pt x="66" y="140"/>
                  </a:lnTo>
                  <a:lnTo>
                    <a:pt x="80" y="140"/>
                  </a:lnTo>
                  <a:lnTo>
                    <a:pt x="94" y="132"/>
                  </a:lnTo>
                  <a:lnTo>
                    <a:pt x="108" y="120"/>
                  </a:lnTo>
                  <a:lnTo>
                    <a:pt x="122" y="132"/>
                  </a:lnTo>
                  <a:lnTo>
                    <a:pt x="136" y="140"/>
                  </a:lnTo>
                  <a:lnTo>
                    <a:pt x="148" y="140"/>
                  </a:lnTo>
                  <a:lnTo>
                    <a:pt x="162" y="132"/>
                  </a:lnTo>
                  <a:lnTo>
                    <a:pt x="170" y="114"/>
                  </a:lnTo>
                  <a:lnTo>
                    <a:pt x="184" y="96"/>
                  </a:lnTo>
                  <a:lnTo>
                    <a:pt x="198" y="86"/>
                  </a:lnTo>
                  <a:lnTo>
                    <a:pt x="204" y="86"/>
                  </a:lnTo>
                  <a:lnTo>
                    <a:pt x="216" y="86"/>
                  </a:lnTo>
                  <a:lnTo>
                    <a:pt x="230" y="78"/>
                  </a:lnTo>
                  <a:lnTo>
                    <a:pt x="238" y="60"/>
                  </a:lnTo>
                  <a:lnTo>
                    <a:pt x="238" y="44"/>
                  </a:lnTo>
                  <a:lnTo>
                    <a:pt x="244" y="26"/>
                  </a:lnTo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70"/>
            <p:cNvSpPr>
              <a:spLocks/>
            </p:cNvSpPr>
            <p:nvPr/>
          </p:nvSpPr>
          <p:spPr bwMode="auto">
            <a:xfrm>
              <a:off x="2725636" y="3640042"/>
              <a:ext cx="1070291" cy="840089"/>
            </a:xfrm>
            <a:custGeom>
              <a:avLst/>
              <a:gdLst>
                <a:gd name="T0" fmla="*/ 668 w 716"/>
                <a:gd name="T1" fmla="*/ 250 h 562"/>
                <a:gd name="T2" fmla="*/ 650 w 716"/>
                <a:gd name="T3" fmla="*/ 294 h 562"/>
                <a:gd name="T4" fmla="*/ 650 w 716"/>
                <a:gd name="T5" fmla="*/ 346 h 562"/>
                <a:gd name="T6" fmla="*/ 620 w 716"/>
                <a:gd name="T7" fmla="*/ 388 h 562"/>
                <a:gd name="T8" fmla="*/ 580 w 716"/>
                <a:gd name="T9" fmla="*/ 416 h 562"/>
                <a:gd name="T10" fmla="*/ 580 w 716"/>
                <a:gd name="T11" fmla="*/ 440 h 562"/>
                <a:gd name="T12" fmla="*/ 562 w 716"/>
                <a:gd name="T13" fmla="*/ 484 h 562"/>
                <a:gd name="T14" fmla="*/ 514 w 716"/>
                <a:gd name="T15" fmla="*/ 510 h 562"/>
                <a:gd name="T16" fmla="*/ 472 w 716"/>
                <a:gd name="T17" fmla="*/ 520 h 562"/>
                <a:gd name="T18" fmla="*/ 432 w 716"/>
                <a:gd name="T19" fmla="*/ 520 h 562"/>
                <a:gd name="T20" fmla="*/ 398 w 716"/>
                <a:gd name="T21" fmla="*/ 536 h 562"/>
                <a:gd name="T22" fmla="*/ 358 w 716"/>
                <a:gd name="T23" fmla="*/ 554 h 562"/>
                <a:gd name="T24" fmla="*/ 318 w 716"/>
                <a:gd name="T25" fmla="*/ 554 h 562"/>
                <a:gd name="T26" fmla="*/ 282 w 716"/>
                <a:gd name="T27" fmla="*/ 536 h 562"/>
                <a:gd name="T28" fmla="*/ 270 w 716"/>
                <a:gd name="T29" fmla="*/ 492 h 562"/>
                <a:gd name="T30" fmla="*/ 250 w 716"/>
                <a:gd name="T31" fmla="*/ 448 h 562"/>
                <a:gd name="T32" fmla="*/ 236 w 716"/>
                <a:gd name="T33" fmla="*/ 406 h 562"/>
                <a:gd name="T34" fmla="*/ 208 w 716"/>
                <a:gd name="T35" fmla="*/ 372 h 562"/>
                <a:gd name="T36" fmla="*/ 168 w 716"/>
                <a:gd name="T37" fmla="*/ 380 h 562"/>
                <a:gd name="T38" fmla="*/ 128 w 716"/>
                <a:gd name="T39" fmla="*/ 380 h 562"/>
                <a:gd name="T40" fmla="*/ 106 w 716"/>
                <a:gd name="T41" fmla="*/ 354 h 562"/>
                <a:gd name="T42" fmla="*/ 66 w 716"/>
                <a:gd name="T43" fmla="*/ 364 h 562"/>
                <a:gd name="T44" fmla="*/ 24 w 716"/>
                <a:gd name="T45" fmla="*/ 372 h 562"/>
                <a:gd name="T46" fmla="*/ 12 w 716"/>
                <a:gd name="T47" fmla="*/ 364 h 562"/>
                <a:gd name="T48" fmla="*/ 24 w 716"/>
                <a:gd name="T49" fmla="*/ 326 h 562"/>
                <a:gd name="T50" fmla="*/ 52 w 716"/>
                <a:gd name="T51" fmla="*/ 284 h 562"/>
                <a:gd name="T52" fmla="*/ 94 w 716"/>
                <a:gd name="T53" fmla="*/ 268 h 562"/>
                <a:gd name="T54" fmla="*/ 134 w 716"/>
                <a:gd name="T55" fmla="*/ 268 h 562"/>
                <a:gd name="T56" fmla="*/ 174 w 716"/>
                <a:gd name="T57" fmla="*/ 268 h 562"/>
                <a:gd name="T58" fmla="*/ 236 w 716"/>
                <a:gd name="T59" fmla="*/ 250 h 562"/>
                <a:gd name="T60" fmla="*/ 236 w 716"/>
                <a:gd name="T61" fmla="*/ 206 h 562"/>
                <a:gd name="T62" fmla="*/ 242 w 716"/>
                <a:gd name="T63" fmla="*/ 154 h 562"/>
                <a:gd name="T64" fmla="*/ 256 w 716"/>
                <a:gd name="T65" fmla="*/ 102 h 562"/>
                <a:gd name="T66" fmla="*/ 282 w 716"/>
                <a:gd name="T67" fmla="*/ 68 h 562"/>
                <a:gd name="T68" fmla="*/ 296 w 716"/>
                <a:gd name="T69" fmla="*/ 34 h 562"/>
                <a:gd name="T70" fmla="*/ 324 w 716"/>
                <a:gd name="T71" fmla="*/ 42 h 562"/>
                <a:gd name="T72" fmla="*/ 344 w 716"/>
                <a:gd name="T73" fmla="*/ 62 h 562"/>
                <a:gd name="T74" fmla="*/ 384 w 716"/>
                <a:gd name="T75" fmla="*/ 34 h 562"/>
                <a:gd name="T76" fmla="*/ 426 w 716"/>
                <a:gd name="T77" fmla="*/ 0 h 562"/>
                <a:gd name="T78" fmla="*/ 460 w 716"/>
                <a:gd name="T79" fmla="*/ 26 h 562"/>
                <a:gd name="T80" fmla="*/ 512 w 716"/>
                <a:gd name="T81" fmla="*/ 26 h 562"/>
                <a:gd name="T82" fmla="*/ 560 w 716"/>
                <a:gd name="T83" fmla="*/ 62 h 562"/>
                <a:gd name="T84" fmla="*/ 608 w 716"/>
                <a:gd name="T85" fmla="*/ 78 h 562"/>
                <a:gd name="T86" fmla="*/ 650 w 716"/>
                <a:gd name="T87" fmla="*/ 112 h 562"/>
                <a:gd name="T88" fmla="*/ 696 w 716"/>
                <a:gd name="T89" fmla="*/ 112 h 562"/>
                <a:gd name="T90" fmla="*/ 702 w 716"/>
                <a:gd name="T91" fmla="*/ 154 h 562"/>
                <a:gd name="T92" fmla="*/ 668 w 716"/>
                <a:gd name="T93" fmla="*/ 190 h 562"/>
                <a:gd name="T94" fmla="*/ 688 w 716"/>
                <a:gd name="T95" fmla="*/ 24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16" h="562">
                  <a:moveTo>
                    <a:pt x="696" y="250"/>
                  </a:moveTo>
                  <a:lnTo>
                    <a:pt x="682" y="250"/>
                  </a:lnTo>
                  <a:lnTo>
                    <a:pt x="668" y="250"/>
                  </a:lnTo>
                  <a:lnTo>
                    <a:pt x="656" y="260"/>
                  </a:lnTo>
                  <a:lnTo>
                    <a:pt x="650" y="278"/>
                  </a:lnTo>
                  <a:lnTo>
                    <a:pt x="650" y="294"/>
                  </a:lnTo>
                  <a:lnTo>
                    <a:pt x="650" y="312"/>
                  </a:lnTo>
                  <a:lnTo>
                    <a:pt x="650" y="328"/>
                  </a:lnTo>
                  <a:lnTo>
                    <a:pt x="650" y="346"/>
                  </a:lnTo>
                  <a:lnTo>
                    <a:pt x="642" y="364"/>
                  </a:lnTo>
                  <a:lnTo>
                    <a:pt x="630" y="372"/>
                  </a:lnTo>
                  <a:lnTo>
                    <a:pt x="620" y="388"/>
                  </a:lnTo>
                  <a:lnTo>
                    <a:pt x="608" y="408"/>
                  </a:lnTo>
                  <a:lnTo>
                    <a:pt x="594" y="396"/>
                  </a:lnTo>
                  <a:lnTo>
                    <a:pt x="580" y="416"/>
                  </a:lnTo>
                  <a:lnTo>
                    <a:pt x="580" y="432"/>
                  </a:lnTo>
                  <a:lnTo>
                    <a:pt x="580" y="440"/>
                  </a:lnTo>
                  <a:lnTo>
                    <a:pt x="580" y="440"/>
                  </a:lnTo>
                  <a:lnTo>
                    <a:pt x="574" y="448"/>
                  </a:lnTo>
                  <a:lnTo>
                    <a:pt x="568" y="468"/>
                  </a:lnTo>
                  <a:lnTo>
                    <a:pt x="562" y="484"/>
                  </a:lnTo>
                  <a:lnTo>
                    <a:pt x="548" y="502"/>
                  </a:lnTo>
                  <a:lnTo>
                    <a:pt x="526" y="510"/>
                  </a:lnTo>
                  <a:lnTo>
                    <a:pt x="514" y="510"/>
                  </a:lnTo>
                  <a:lnTo>
                    <a:pt x="500" y="520"/>
                  </a:lnTo>
                  <a:lnTo>
                    <a:pt x="488" y="520"/>
                  </a:lnTo>
                  <a:lnTo>
                    <a:pt x="472" y="520"/>
                  </a:lnTo>
                  <a:lnTo>
                    <a:pt x="460" y="520"/>
                  </a:lnTo>
                  <a:lnTo>
                    <a:pt x="446" y="510"/>
                  </a:lnTo>
                  <a:lnTo>
                    <a:pt x="432" y="520"/>
                  </a:lnTo>
                  <a:lnTo>
                    <a:pt x="420" y="520"/>
                  </a:lnTo>
                  <a:lnTo>
                    <a:pt x="404" y="536"/>
                  </a:lnTo>
                  <a:lnTo>
                    <a:pt x="398" y="536"/>
                  </a:lnTo>
                  <a:lnTo>
                    <a:pt x="384" y="536"/>
                  </a:lnTo>
                  <a:lnTo>
                    <a:pt x="372" y="546"/>
                  </a:lnTo>
                  <a:lnTo>
                    <a:pt x="358" y="554"/>
                  </a:lnTo>
                  <a:lnTo>
                    <a:pt x="344" y="562"/>
                  </a:lnTo>
                  <a:lnTo>
                    <a:pt x="330" y="562"/>
                  </a:lnTo>
                  <a:lnTo>
                    <a:pt x="318" y="554"/>
                  </a:lnTo>
                  <a:lnTo>
                    <a:pt x="302" y="562"/>
                  </a:lnTo>
                  <a:lnTo>
                    <a:pt x="290" y="554"/>
                  </a:lnTo>
                  <a:lnTo>
                    <a:pt x="282" y="536"/>
                  </a:lnTo>
                  <a:lnTo>
                    <a:pt x="270" y="526"/>
                  </a:lnTo>
                  <a:lnTo>
                    <a:pt x="276" y="510"/>
                  </a:lnTo>
                  <a:lnTo>
                    <a:pt x="270" y="492"/>
                  </a:lnTo>
                  <a:lnTo>
                    <a:pt x="270" y="474"/>
                  </a:lnTo>
                  <a:lnTo>
                    <a:pt x="256" y="468"/>
                  </a:lnTo>
                  <a:lnTo>
                    <a:pt x="250" y="448"/>
                  </a:lnTo>
                  <a:lnTo>
                    <a:pt x="250" y="432"/>
                  </a:lnTo>
                  <a:lnTo>
                    <a:pt x="250" y="414"/>
                  </a:lnTo>
                  <a:lnTo>
                    <a:pt x="236" y="406"/>
                  </a:lnTo>
                  <a:lnTo>
                    <a:pt x="228" y="388"/>
                  </a:lnTo>
                  <a:lnTo>
                    <a:pt x="222" y="372"/>
                  </a:lnTo>
                  <a:lnTo>
                    <a:pt x="208" y="372"/>
                  </a:lnTo>
                  <a:lnTo>
                    <a:pt x="194" y="380"/>
                  </a:lnTo>
                  <a:lnTo>
                    <a:pt x="180" y="380"/>
                  </a:lnTo>
                  <a:lnTo>
                    <a:pt x="168" y="380"/>
                  </a:lnTo>
                  <a:lnTo>
                    <a:pt x="156" y="396"/>
                  </a:lnTo>
                  <a:lnTo>
                    <a:pt x="140" y="388"/>
                  </a:lnTo>
                  <a:lnTo>
                    <a:pt x="128" y="380"/>
                  </a:lnTo>
                  <a:lnTo>
                    <a:pt x="112" y="388"/>
                  </a:lnTo>
                  <a:lnTo>
                    <a:pt x="106" y="372"/>
                  </a:lnTo>
                  <a:lnTo>
                    <a:pt x="106" y="354"/>
                  </a:lnTo>
                  <a:lnTo>
                    <a:pt x="94" y="354"/>
                  </a:lnTo>
                  <a:lnTo>
                    <a:pt x="80" y="364"/>
                  </a:lnTo>
                  <a:lnTo>
                    <a:pt x="66" y="364"/>
                  </a:lnTo>
                  <a:lnTo>
                    <a:pt x="52" y="354"/>
                  </a:lnTo>
                  <a:lnTo>
                    <a:pt x="38" y="354"/>
                  </a:lnTo>
                  <a:lnTo>
                    <a:pt x="24" y="372"/>
                  </a:lnTo>
                  <a:lnTo>
                    <a:pt x="12" y="380"/>
                  </a:lnTo>
                  <a:lnTo>
                    <a:pt x="0" y="388"/>
                  </a:lnTo>
                  <a:lnTo>
                    <a:pt x="12" y="364"/>
                  </a:lnTo>
                  <a:lnTo>
                    <a:pt x="4" y="346"/>
                  </a:lnTo>
                  <a:lnTo>
                    <a:pt x="12" y="336"/>
                  </a:lnTo>
                  <a:lnTo>
                    <a:pt x="24" y="326"/>
                  </a:lnTo>
                  <a:lnTo>
                    <a:pt x="24" y="310"/>
                  </a:lnTo>
                  <a:lnTo>
                    <a:pt x="38" y="294"/>
                  </a:lnTo>
                  <a:lnTo>
                    <a:pt x="52" y="284"/>
                  </a:lnTo>
                  <a:lnTo>
                    <a:pt x="66" y="278"/>
                  </a:lnTo>
                  <a:lnTo>
                    <a:pt x="80" y="268"/>
                  </a:lnTo>
                  <a:lnTo>
                    <a:pt x="94" y="268"/>
                  </a:lnTo>
                  <a:lnTo>
                    <a:pt x="106" y="268"/>
                  </a:lnTo>
                  <a:lnTo>
                    <a:pt x="120" y="278"/>
                  </a:lnTo>
                  <a:lnTo>
                    <a:pt x="134" y="268"/>
                  </a:lnTo>
                  <a:lnTo>
                    <a:pt x="148" y="268"/>
                  </a:lnTo>
                  <a:lnTo>
                    <a:pt x="160" y="258"/>
                  </a:lnTo>
                  <a:lnTo>
                    <a:pt x="174" y="268"/>
                  </a:lnTo>
                  <a:lnTo>
                    <a:pt x="200" y="258"/>
                  </a:lnTo>
                  <a:lnTo>
                    <a:pt x="222" y="258"/>
                  </a:lnTo>
                  <a:lnTo>
                    <a:pt x="236" y="250"/>
                  </a:lnTo>
                  <a:lnTo>
                    <a:pt x="242" y="232"/>
                  </a:lnTo>
                  <a:lnTo>
                    <a:pt x="250" y="216"/>
                  </a:lnTo>
                  <a:lnTo>
                    <a:pt x="236" y="206"/>
                  </a:lnTo>
                  <a:lnTo>
                    <a:pt x="242" y="190"/>
                  </a:lnTo>
                  <a:lnTo>
                    <a:pt x="256" y="172"/>
                  </a:lnTo>
                  <a:lnTo>
                    <a:pt x="242" y="154"/>
                  </a:lnTo>
                  <a:lnTo>
                    <a:pt x="236" y="138"/>
                  </a:lnTo>
                  <a:lnTo>
                    <a:pt x="242" y="120"/>
                  </a:lnTo>
                  <a:lnTo>
                    <a:pt x="256" y="102"/>
                  </a:lnTo>
                  <a:lnTo>
                    <a:pt x="270" y="102"/>
                  </a:lnTo>
                  <a:lnTo>
                    <a:pt x="282" y="84"/>
                  </a:lnTo>
                  <a:lnTo>
                    <a:pt x="282" y="68"/>
                  </a:lnTo>
                  <a:lnTo>
                    <a:pt x="282" y="52"/>
                  </a:lnTo>
                  <a:lnTo>
                    <a:pt x="296" y="52"/>
                  </a:lnTo>
                  <a:lnTo>
                    <a:pt x="296" y="34"/>
                  </a:lnTo>
                  <a:lnTo>
                    <a:pt x="310" y="34"/>
                  </a:lnTo>
                  <a:lnTo>
                    <a:pt x="324" y="42"/>
                  </a:lnTo>
                  <a:lnTo>
                    <a:pt x="324" y="42"/>
                  </a:lnTo>
                  <a:lnTo>
                    <a:pt x="324" y="52"/>
                  </a:lnTo>
                  <a:lnTo>
                    <a:pt x="330" y="70"/>
                  </a:lnTo>
                  <a:lnTo>
                    <a:pt x="344" y="62"/>
                  </a:lnTo>
                  <a:lnTo>
                    <a:pt x="350" y="62"/>
                  </a:lnTo>
                  <a:lnTo>
                    <a:pt x="372" y="42"/>
                  </a:lnTo>
                  <a:lnTo>
                    <a:pt x="384" y="34"/>
                  </a:lnTo>
                  <a:lnTo>
                    <a:pt x="398" y="18"/>
                  </a:lnTo>
                  <a:lnTo>
                    <a:pt x="412" y="8"/>
                  </a:lnTo>
                  <a:lnTo>
                    <a:pt x="426" y="0"/>
                  </a:lnTo>
                  <a:lnTo>
                    <a:pt x="446" y="0"/>
                  </a:lnTo>
                  <a:lnTo>
                    <a:pt x="460" y="8"/>
                  </a:lnTo>
                  <a:lnTo>
                    <a:pt x="460" y="26"/>
                  </a:lnTo>
                  <a:lnTo>
                    <a:pt x="488" y="34"/>
                  </a:lnTo>
                  <a:lnTo>
                    <a:pt x="498" y="34"/>
                  </a:lnTo>
                  <a:lnTo>
                    <a:pt x="512" y="26"/>
                  </a:lnTo>
                  <a:lnTo>
                    <a:pt x="526" y="26"/>
                  </a:lnTo>
                  <a:lnTo>
                    <a:pt x="538" y="42"/>
                  </a:lnTo>
                  <a:lnTo>
                    <a:pt x="560" y="62"/>
                  </a:lnTo>
                  <a:lnTo>
                    <a:pt x="574" y="62"/>
                  </a:lnTo>
                  <a:lnTo>
                    <a:pt x="588" y="70"/>
                  </a:lnTo>
                  <a:lnTo>
                    <a:pt x="608" y="78"/>
                  </a:lnTo>
                  <a:lnTo>
                    <a:pt x="614" y="94"/>
                  </a:lnTo>
                  <a:lnTo>
                    <a:pt x="634" y="104"/>
                  </a:lnTo>
                  <a:lnTo>
                    <a:pt x="650" y="112"/>
                  </a:lnTo>
                  <a:lnTo>
                    <a:pt x="668" y="104"/>
                  </a:lnTo>
                  <a:lnTo>
                    <a:pt x="676" y="122"/>
                  </a:lnTo>
                  <a:lnTo>
                    <a:pt x="696" y="112"/>
                  </a:lnTo>
                  <a:lnTo>
                    <a:pt x="710" y="122"/>
                  </a:lnTo>
                  <a:lnTo>
                    <a:pt x="716" y="138"/>
                  </a:lnTo>
                  <a:lnTo>
                    <a:pt x="702" y="154"/>
                  </a:lnTo>
                  <a:lnTo>
                    <a:pt x="688" y="174"/>
                  </a:lnTo>
                  <a:lnTo>
                    <a:pt x="676" y="174"/>
                  </a:lnTo>
                  <a:lnTo>
                    <a:pt x="668" y="190"/>
                  </a:lnTo>
                  <a:lnTo>
                    <a:pt x="668" y="208"/>
                  </a:lnTo>
                  <a:lnTo>
                    <a:pt x="682" y="226"/>
                  </a:lnTo>
                  <a:lnTo>
                    <a:pt x="688" y="242"/>
                  </a:lnTo>
                  <a:lnTo>
                    <a:pt x="696" y="25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71"/>
            <p:cNvSpPr>
              <a:spLocks/>
            </p:cNvSpPr>
            <p:nvPr/>
          </p:nvSpPr>
          <p:spPr bwMode="auto">
            <a:xfrm>
              <a:off x="2725636" y="3640042"/>
              <a:ext cx="1070291" cy="840089"/>
            </a:xfrm>
            <a:custGeom>
              <a:avLst/>
              <a:gdLst>
                <a:gd name="T0" fmla="*/ 668 w 716"/>
                <a:gd name="T1" fmla="*/ 250 h 562"/>
                <a:gd name="T2" fmla="*/ 650 w 716"/>
                <a:gd name="T3" fmla="*/ 294 h 562"/>
                <a:gd name="T4" fmla="*/ 650 w 716"/>
                <a:gd name="T5" fmla="*/ 346 h 562"/>
                <a:gd name="T6" fmla="*/ 620 w 716"/>
                <a:gd name="T7" fmla="*/ 388 h 562"/>
                <a:gd name="T8" fmla="*/ 580 w 716"/>
                <a:gd name="T9" fmla="*/ 416 h 562"/>
                <a:gd name="T10" fmla="*/ 580 w 716"/>
                <a:gd name="T11" fmla="*/ 440 h 562"/>
                <a:gd name="T12" fmla="*/ 562 w 716"/>
                <a:gd name="T13" fmla="*/ 484 h 562"/>
                <a:gd name="T14" fmla="*/ 514 w 716"/>
                <a:gd name="T15" fmla="*/ 510 h 562"/>
                <a:gd name="T16" fmla="*/ 472 w 716"/>
                <a:gd name="T17" fmla="*/ 520 h 562"/>
                <a:gd name="T18" fmla="*/ 432 w 716"/>
                <a:gd name="T19" fmla="*/ 520 h 562"/>
                <a:gd name="T20" fmla="*/ 398 w 716"/>
                <a:gd name="T21" fmla="*/ 536 h 562"/>
                <a:gd name="T22" fmla="*/ 358 w 716"/>
                <a:gd name="T23" fmla="*/ 554 h 562"/>
                <a:gd name="T24" fmla="*/ 318 w 716"/>
                <a:gd name="T25" fmla="*/ 554 h 562"/>
                <a:gd name="T26" fmla="*/ 282 w 716"/>
                <a:gd name="T27" fmla="*/ 536 h 562"/>
                <a:gd name="T28" fmla="*/ 270 w 716"/>
                <a:gd name="T29" fmla="*/ 492 h 562"/>
                <a:gd name="T30" fmla="*/ 250 w 716"/>
                <a:gd name="T31" fmla="*/ 448 h 562"/>
                <a:gd name="T32" fmla="*/ 236 w 716"/>
                <a:gd name="T33" fmla="*/ 406 h 562"/>
                <a:gd name="T34" fmla="*/ 208 w 716"/>
                <a:gd name="T35" fmla="*/ 372 h 562"/>
                <a:gd name="T36" fmla="*/ 168 w 716"/>
                <a:gd name="T37" fmla="*/ 380 h 562"/>
                <a:gd name="T38" fmla="*/ 128 w 716"/>
                <a:gd name="T39" fmla="*/ 380 h 562"/>
                <a:gd name="T40" fmla="*/ 106 w 716"/>
                <a:gd name="T41" fmla="*/ 354 h 562"/>
                <a:gd name="T42" fmla="*/ 66 w 716"/>
                <a:gd name="T43" fmla="*/ 364 h 562"/>
                <a:gd name="T44" fmla="*/ 24 w 716"/>
                <a:gd name="T45" fmla="*/ 372 h 562"/>
                <a:gd name="T46" fmla="*/ 12 w 716"/>
                <a:gd name="T47" fmla="*/ 364 h 562"/>
                <a:gd name="T48" fmla="*/ 24 w 716"/>
                <a:gd name="T49" fmla="*/ 326 h 562"/>
                <a:gd name="T50" fmla="*/ 52 w 716"/>
                <a:gd name="T51" fmla="*/ 284 h 562"/>
                <a:gd name="T52" fmla="*/ 94 w 716"/>
                <a:gd name="T53" fmla="*/ 268 h 562"/>
                <a:gd name="T54" fmla="*/ 134 w 716"/>
                <a:gd name="T55" fmla="*/ 268 h 562"/>
                <a:gd name="T56" fmla="*/ 174 w 716"/>
                <a:gd name="T57" fmla="*/ 268 h 562"/>
                <a:gd name="T58" fmla="*/ 236 w 716"/>
                <a:gd name="T59" fmla="*/ 250 h 562"/>
                <a:gd name="T60" fmla="*/ 236 w 716"/>
                <a:gd name="T61" fmla="*/ 206 h 562"/>
                <a:gd name="T62" fmla="*/ 242 w 716"/>
                <a:gd name="T63" fmla="*/ 154 h 562"/>
                <a:gd name="T64" fmla="*/ 256 w 716"/>
                <a:gd name="T65" fmla="*/ 102 h 562"/>
                <a:gd name="T66" fmla="*/ 282 w 716"/>
                <a:gd name="T67" fmla="*/ 68 h 562"/>
                <a:gd name="T68" fmla="*/ 296 w 716"/>
                <a:gd name="T69" fmla="*/ 34 h 562"/>
                <a:gd name="T70" fmla="*/ 324 w 716"/>
                <a:gd name="T71" fmla="*/ 42 h 562"/>
                <a:gd name="T72" fmla="*/ 344 w 716"/>
                <a:gd name="T73" fmla="*/ 62 h 562"/>
                <a:gd name="T74" fmla="*/ 384 w 716"/>
                <a:gd name="T75" fmla="*/ 34 h 562"/>
                <a:gd name="T76" fmla="*/ 426 w 716"/>
                <a:gd name="T77" fmla="*/ 0 h 562"/>
                <a:gd name="T78" fmla="*/ 460 w 716"/>
                <a:gd name="T79" fmla="*/ 26 h 562"/>
                <a:gd name="T80" fmla="*/ 512 w 716"/>
                <a:gd name="T81" fmla="*/ 26 h 562"/>
                <a:gd name="T82" fmla="*/ 560 w 716"/>
                <a:gd name="T83" fmla="*/ 62 h 562"/>
                <a:gd name="T84" fmla="*/ 608 w 716"/>
                <a:gd name="T85" fmla="*/ 78 h 562"/>
                <a:gd name="T86" fmla="*/ 650 w 716"/>
                <a:gd name="T87" fmla="*/ 112 h 562"/>
                <a:gd name="T88" fmla="*/ 696 w 716"/>
                <a:gd name="T89" fmla="*/ 112 h 562"/>
                <a:gd name="T90" fmla="*/ 702 w 716"/>
                <a:gd name="T91" fmla="*/ 154 h 562"/>
                <a:gd name="T92" fmla="*/ 668 w 716"/>
                <a:gd name="T93" fmla="*/ 190 h 562"/>
                <a:gd name="T94" fmla="*/ 688 w 716"/>
                <a:gd name="T95" fmla="*/ 24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16" h="562">
                  <a:moveTo>
                    <a:pt x="696" y="250"/>
                  </a:moveTo>
                  <a:lnTo>
                    <a:pt x="682" y="250"/>
                  </a:lnTo>
                  <a:lnTo>
                    <a:pt x="668" y="250"/>
                  </a:lnTo>
                  <a:lnTo>
                    <a:pt x="656" y="260"/>
                  </a:lnTo>
                  <a:lnTo>
                    <a:pt x="650" y="278"/>
                  </a:lnTo>
                  <a:lnTo>
                    <a:pt x="650" y="294"/>
                  </a:lnTo>
                  <a:lnTo>
                    <a:pt x="650" y="312"/>
                  </a:lnTo>
                  <a:lnTo>
                    <a:pt x="650" y="328"/>
                  </a:lnTo>
                  <a:lnTo>
                    <a:pt x="650" y="346"/>
                  </a:lnTo>
                  <a:lnTo>
                    <a:pt x="642" y="364"/>
                  </a:lnTo>
                  <a:lnTo>
                    <a:pt x="630" y="372"/>
                  </a:lnTo>
                  <a:lnTo>
                    <a:pt x="620" y="388"/>
                  </a:lnTo>
                  <a:lnTo>
                    <a:pt x="608" y="408"/>
                  </a:lnTo>
                  <a:lnTo>
                    <a:pt x="594" y="396"/>
                  </a:lnTo>
                  <a:lnTo>
                    <a:pt x="580" y="416"/>
                  </a:lnTo>
                  <a:lnTo>
                    <a:pt x="580" y="432"/>
                  </a:lnTo>
                  <a:lnTo>
                    <a:pt x="580" y="440"/>
                  </a:lnTo>
                  <a:lnTo>
                    <a:pt x="580" y="440"/>
                  </a:lnTo>
                  <a:lnTo>
                    <a:pt x="574" y="448"/>
                  </a:lnTo>
                  <a:lnTo>
                    <a:pt x="568" y="468"/>
                  </a:lnTo>
                  <a:lnTo>
                    <a:pt x="562" y="484"/>
                  </a:lnTo>
                  <a:lnTo>
                    <a:pt x="548" y="502"/>
                  </a:lnTo>
                  <a:lnTo>
                    <a:pt x="526" y="510"/>
                  </a:lnTo>
                  <a:lnTo>
                    <a:pt x="514" y="510"/>
                  </a:lnTo>
                  <a:lnTo>
                    <a:pt x="500" y="520"/>
                  </a:lnTo>
                  <a:lnTo>
                    <a:pt x="488" y="520"/>
                  </a:lnTo>
                  <a:lnTo>
                    <a:pt x="472" y="520"/>
                  </a:lnTo>
                  <a:lnTo>
                    <a:pt x="460" y="520"/>
                  </a:lnTo>
                  <a:lnTo>
                    <a:pt x="446" y="510"/>
                  </a:lnTo>
                  <a:lnTo>
                    <a:pt x="432" y="520"/>
                  </a:lnTo>
                  <a:lnTo>
                    <a:pt x="420" y="520"/>
                  </a:lnTo>
                  <a:lnTo>
                    <a:pt x="404" y="536"/>
                  </a:lnTo>
                  <a:lnTo>
                    <a:pt x="398" y="536"/>
                  </a:lnTo>
                  <a:lnTo>
                    <a:pt x="384" y="536"/>
                  </a:lnTo>
                  <a:lnTo>
                    <a:pt x="372" y="546"/>
                  </a:lnTo>
                  <a:lnTo>
                    <a:pt x="358" y="554"/>
                  </a:lnTo>
                  <a:lnTo>
                    <a:pt x="344" y="562"/>
                  </a:lnTo>
                  <a:lnTo>
                    <a:pt x="330" y="562"/>
                  </a:lnTo>
                  <a:lnTo>
                    <a:pt x="318" y="554"/>
                  </a:lnTo>
                  <a:lnTo>
                    <a:pt x="302" y="562"/>
                  </a:lnTo>
                  <a:lnTo>
                    <a:pt x="290" y="554"/>
                  </a:lnTo>
                  <a:lnTo>
                    <a:pt x="282" y="536"/>
                  </a:lnTo>
                  <a:lnTo>
                    <a:pt x="270" y="526"/>
                  </a:lnTo>
                  <a:lnTo>
                    <a:pt x="276" y="510"/>
                  </a:lnTo>
                  <a:lnTo>
                    <a:pt x="270" y="492"/>
                  </a:lnTo>
                  <a:lnTo>
                    <a:pt x="270" y="474"/>
                  </a:lnTo>
                  <a:lnTo>
                    <a:pt x="256" y="468"/>
                  </a:lnTo>
                  <a:lnTo>
                    <a:pt x="250" y="448"/>
                  </a:lnTo>
                  <a:lnTo>
                    <a:pt x="250" y="432"/>
                  </a:lnTo>
                  <a:lnTo>
                    <a:pt x="250" y="414"/>
                  </a:lnTo>
                  <a:lnTo>
                    <a:pt x="236" y="406"/>
                  </a:lnTo>
                  <a:lnTo>
                    <a:pt x="228" y="388"/>
                  </a:lnTo>
                  <a:lnTo>
                    <a:pt x="222" y="372"/>
                  </a:lnTo>
                  <a:lnTo>
                    <a:pt x="208" y="372"/>
                  </a:lnTo>
                  <a:lnTo>
                    <a:pt x="194" y="380"/>
                  </a:lnTo>
                  <a:lnTo>
                    <a:pt x="180" y="380"/>
                  </a:lnTo>
                  <a:lnTo>
                    <a:pt x="168" y="380"/>
                  </a:lnTo>
                  <a:lnTo>
                    <a:pt x="156" y="396"/>
                  </a:lnTo>
                  <a:lnTo>
                    <a:pt x="140" y="388"/>
                  </a:lnTo>
                  <a:lnTo>
                    <a:pt x="128" y="380"/>
                  </a:lnTo>
                  <a:lnTo>
                    <a:pt x="112" y="388"/>
                  </a:lnTo>
                  <a:lnTo>
                    <a:pt x="106" y="372"/>
                  </a:lnTo>
                  <a:lnTo>
                    <a:pt x="106" y="354"/>
                  </a:lnTo>
                  <a:lnTo>
                    <a:pt x="94" y="354"/>
                  </a:lnTo>
                  <a:lnTo>
                    <a:pt x="80" y="364"/>
                  </a:lnTo>
                  <a:lnTo>
                    <a:pt x="66" y="364"/>
                  </a:lnTo>
                  <a:lnTo>
                    <a:pt x="52" y="354"/>
                  </a:lnTo>
                  <a:lnTo>
                    <a:pt x="38" y="354"/>
                  </a:lnTo>
                  <a:lnTo>
                    <a:pt x="24" y="372"/>
                  </a:lnTo>
                  <a:lnTo>
                    <a:pt x="12" y="380"/>
                  </a:lnTo>
                  <a:lnTo>
                    <a:pt x="0" y="388"/>
                  </a:lnTo>
                  <a:lnTo>
                    <a:pt x="12" y="364"/>
                  </a:lnTo>
                  <a:lnTo>
                    <a:pt x="4" y="346"/>
                  </a:lnTo>
                  <a:lnTo>
                    <a:pt x="12" y="336"/>
                  </a:lnTo>
                  <a:lnTo>
                    <a:pt x="24" y="326"/>
                  </a:lnTo>
                  <a:lnTo>
                    <a:pt x="24" y="310"/>
                  </a:lnTo>
                  <a:lnTo>
                    <a:pt x="38" y="294"/>
                  </a:lnTo>
                  <a:lnTo>
                    <a:pt x="52" y="284"/>
                  </a:lnTo>
                  <a:lnTo>
                    <a:pt x="66" y="278"/>
                  </a:lnTo>
                  <a:lnTo>
                    <a:pt x="80" y="268"/>
                  </a:lnTo>
                  <a:lnTo>
                    <a:pt x="94" y="268"/>
                  </a:lnTo>
                  <a:lnTo>
                    <a:pt x="106" y="268"/>
                  </a:lnTo>
                  <a:lnTo>
                    <a:pt x="120" y="278"/>
                  </a:lnTo>
                  <a:lnTo>
                    <a:pt x="134" y="268"/>
                  </a:lnTo>
                  <a:lnTo>
                    <a:pt x="148" y="268"/>
                  </a:lnTo>
                  <a:lnTo>
                    <a:pt x="160" y="258"/>
                  </a:lnTo>
                  <a:lnTo>
                    <a:pt x="174" y="268"/>
                  </a:lnTo>
                  <a:lnTo>
                    <a:pt x="200" y="258"/>
                  </a:lnTo>
                  <a:lnTo>
                    <a:pt x="222" y="258"/>
                  </a:lnTo>
                  <a:lnTo>
                    <a:pt x="236" y="250"/>
                  </a:lnTo>
                  <a:lnTo>
                    <a:pt x="242" y="232"/>
                  </a:lnTo>
                  <a:lnTo>
                    <a:pt x="250" y="216"/>
                  </a:lnTo>
                  <a:lnTo>
                    <a:pt x="236" y="206"/>
                  </a:lnTo>
                  <a:lnTo>
                    <a:pt x="242" y="190"/>
                  </a:lnTo>
                  <a:lnTo>
                    <a:pt x="256" y="172"/>
                  </a:lnTo>
                  <a:lnTo>
                    <a:pt x="242" y="154"/>
                  </a:lnTo>
                  <a:lnTo>
                    <a:pt x="236" y="138"/>
                  </a:lnTo>
                  <a:lnTo>
                    <a:pt x="242" y="120"/>
                  </a:lnTo>
                  <a:lnTo>
                    <a:pt x="256" y="102"/>
                  </a:lnTo>
                  <a:lnTo>
                    <a:pt x="270" y="102"/>
                  </a:lnTo>
                  <a:lnTo>
                    <a:pt x="282" y="84"/>
                  </a:lnTo>
                  <a:lnTo>
                    <a:pt x="282" y="68"/>
                  </a:lnTo>
                  <a:lnTo>
                    <a:pt x="282" y="52"/>
                  </a:lnTo>
                  <a:lnTo>
                    <a:pt x="296" y="52"/>
                  </a:lnTo>
                  <a:lnTo>
                    <a:pt x="296" y="34"/>
                  </a:lnTo>
                  <a:lnTo>
                    <a:pt x="310" y="34"/>
                  </a:lnTo>
                  <a:lnTo>
                    <a:pt x="324" y="42"/>
                  </a:lnTo>
                  <a:lnTo>
                    <a:pt x="324" y="42"/>
                  </a:lnTo>
                  <a:lnTo>
                    <a:pt x="324" y="52"/>
                  </a:lnTo>
                  <a:lnTo>
                    <a:pt x="330" y="70"/>
                  </a:lnTo>
                  <a:lnTo>
                    <a:pt x="344" y="62"/>
                  </a:lnTo>
                  <a:lnTo>
                    <a:pt x="350" y="62"/>
                  </a:lnTo>
                  <a:lnTo>
                    <a:pt x="372" y="42"/>
                  </a:lnTo>
                  <a:lnTo>
                    <a:pt x="384" y="34"/>
                  </a:lnTo>
                  <a:lnTo>
                    <a:pt x="398" y="18"/>
                  </a:lnTo>
                  <a:lnTo>
                    <a:pt x="412" y="8"/>
                  </a:lnTo>
                  <a:lnTo>
                    <a:pt x="426" y="0"/>
                  </a:lnTo>
                  <a:lnTo>
                    <a:pt x="446" y="0"/>
                  </a:lnTo>
                  <a:lnTo>
                    <a:pt x="460" y="8"/>
                  </a:lnTo>
                  <a:lnTo>
                    <a:pt x="460" y="26"/>
                  </a:lnTo>
                  <a:lnTo>
                    <a:pt x="488" y="34"/>
                  </a:lnTo>
                  <a:lnTo>
                    <a:pt x="498" y="34"/>
                  </a:lnTo>
                  <a:lnTo>
                    <a:pt x="512" y="26"/>
                  </a:lnTo>
                  <a:lnTo>
                    <a:pt x="526" y="26"/>
                  </a:lnTo>
                  <a:lnTo>
                    <a:pt x="538" y="42"/>
                  </a:lnTo>
                  <a:lnTo>
                    <a:pt x="560" y="62"/>
                  </a:lnTo>
                  <a:lnTo>
                    <a:pt x="574" y="62"/>
                  </a:lnTo>
                  <a:lnTo>
                    <a:pt x="588" y="70"/>
                  </a:lnTo>
                  <a:lnTo>
                    <a:pt x="608" y="78"/>
                  </a:lnTo>
                  <a:lnTo>
                    <a:pt x="614" y="94"/>
                  </a:lnTo>
                  <a:lnTo>
                    <a:pt x="634" y="104"/>
                  </a:lnTo>
                  <a:lnTo>
                    <a:pt x="650" y="112"/>
                  </a:lnTo>
                  <a:lnTo>
                    <a:pt x="668" y="104"/>
                  </a:lnTo>
                  <a:lnTo>
                    <a:pt x="676" y="122"/>
                  </a:lnTo>
                  <a:lnTo>
                    <a:pt x="696" y="112"/>
                  </a:lnTo>
                  <a:lnTo>
                    <a:pt x="710" y="122"/>
                  </a:lnTo>
                  <a:lnTo>
                    <a:pt x="716" y="138"/>
                  </a:lnTo>
                  <a:lnTo>
                    <a:pt x="702" y="154"/>
                  </a:lnTo>
                  <a:lnTo>
                    <a:pt x="688" y="174"/>
                  </a:lnTo>
                  <a:lnTo>
                    <a:pt x="676" y="174"/>
                  </a:lnTo>
                  <a:lnTo>
                    <a:pt x="668" y="190"/>
                  </a:lnTo>
                  <a:lnTo>
                    <a:pt x="668" y="208"/>
                  </a:lnTo>
                  <a:lnTo>
                    <a:pt x="682" y="226"/>
                  </a:lnTo>
                  <a:lnTo>
                    <a:pt x="688" y="242"/>
                  </a:lnTo>
                  <a:lnTo>
                    <a:pt x="696" y="250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72"/>
            <p:cNvSpPr>
              <a:spLocks/>
            </p:cNvSpPr>
            <p:nvPr/>
          </p:nvSpPr>
          <p:spPr bwMode="auto">
            <a:xfrm>
              <a:off x="2067915" y="3912099"/>
              <a:ext cx="681638" cy="699576"/>
            </a:xfrm>
            <a:custGeom>
              <a:avLst/>
              <a:gdLst>
                <a:gd name="T0" fmla="*/ 310 w 456"/>
                <a:gd name="T1" fmla="*/ 60 h 468"/>
                <a:gd name="T2" fmla="*/ 338 w 456"/>
                <a:gd name="T3" fmla="*/ 86 h 468"/>
                <a:gd name="T4" fmla="*/ 366 w 456"/>
                <a:gd name="T5" fmla="*/ 94 h 468"/>
                <a:gd name="T6" fmla="*/ 394 w 456"/>
                <a:gd name="T7" fmla="*/ 120 h 468"/>
                <a:gd name="T8" fmla="*/ 420 w 456"/>
                <a:gd name="T9" fmla="*/ 120 h 468"/>
                <a:gd name="T10" fmla="*/ 446 w 456"/>
                <a:gd name="T11" fmla="*/ 130 h 468"/>
                <a:gd name="T12" fmla="*/ 446 w 456"/>
                <a:gd name="T13" fmla="*/ 164 h 468"/>
                <a:gd name="T14" fmla="*/ 446 w 456"/>
                <a:gd name="T15" fmla="*/ 198 h 468"/>
                <a:gd name="T16" fmla="*/ 446 w 456"/>
                <a:gd name="T17" fmla="*/ 208 h 468"/>
                <a:gd name="T18" fmla="*/ 418 w 456"/>
                <a:gd name="T19" fmla="*/ 224 h 468"/>
                <a:gd name="T20" fmla="*/ 398 w 456"/>
                <a:gd name="T21" fmla="*/ 260 h 468"/>
                <a:gd name="T22" fmla="*/ 378 w 456"/>
                <a:gd name="T23" fmla="*/ 286 h 468"/>
                <a:gd name="T24" fmla="*/ 378 w 456"/>
                <a:gd name="T25" fmla="*/ 320 h 468"/>
                <a:gd name="T26" fmla="*/ 350 w 456"/>
                <a:gd name="T27" fmla="*/ 338 h 468"/>
                <a:gd name="T28" fmla="*/ 322 w 456"/>
                <a:gd name="T29" fmla="*/ 364 h 468"/>
                <a:gd name="T30" fmla="*/ 304 w 456"/>
                <a:gd name="T31" fmla="*/ 374 h 468"/>
                <a:gd name="T32" fmla="*/ 282 w 456"/>
                <a:gd name="T33" fmla="*/ 398 h 468"/>
                <a:gd name="T34" fmla="*/ 268 w 456"/>
                <a:gd name="T35" fmla="*/ 414 h 468"/>
                <a:gd name="T36" fmla="*/ 264 w 456"/>
                <a:gd name="T37" fmla="*/ 450 h 468"/>
                <a:gd name="T38" fmla="*/ 236 w 456"/>
                <a:gd name="T39" fmla="*/ 468 h 468"/>
                <a:gd name="T40" fmla="*/ 222 w 456"/>
                <a:gd name="T41" fmla="*/ 440 h 468"/>
                <a:gd name="T42" fmla="*/ 194 w 456"/>
                <a:gd name="T43" fmla="*/ 450 h 468"/>
                <a:gd name="T44" fmla="*/ 174 w 456"/>
                <a:gd name="T45" fmla="*/ 422 h 468"/>
                <a:gd name="T46" fmla="*/ 174 w 456"/>
                <a:gd name="T47" fmla="*/ 388 h 468"/>
                <a:gd name="T48" fmla="*/ 154 w 456"/>
                <a:gd name="T49" fmla="*/ 354 h 468"/>
                <a:gd name="T50" fmla="*/ 134 w 456"/>
                <a:gd name="T51" fmla="*/ 338 h 468"/>
                <a:gd name="T52" fmla="*/ 108 w 456"/>
                <a:gd name="T53" fmla="*/ 338 h 468"/>
                <a:gd name="T54" fmla="*/ 80 w 456"/>
                <a:gd name="T55" fmla="*/ 338 h 468"/>
                <a:gd name="T56" fmla="*/ 52 w 456"/>
                <a:gd name="T57" fmla="*/ 330 h 468"/>
                <a:gd name="T58" fmla="*/ 26 w 456"/>
                <a:gd name="T59" fmla="*/ 338 h 468"/>
                <a:gd name="T60" fmla="*/ 12 w 456"/>
                <a:gd name="T61" fmla="*/ 302 h 468"/>
                <a:gd name="T62" fmla="*/ 12 w 456"/>
                <a:gd name="T63" fmla="*/ 266 h 468"/>
                <a:gd name="T64" fmla="*/ 12 w 456"/>
                <a:gd name="T65" fmla="*/ 234 h 468"/>
                <a:gd name="T66" fmla="*/ 0 w 456"/>
                <a:gd name="T67" fmla="*/ 198 h 468"/>
                <a:gd name="T68" fmla="*/ 0 w 456"/>
                <a:gd name="T69" fmla="*/ 164 h 468"/>
                <a:gd name="T70" fmla="*/ 20 w 456"/>
                <a:gd name="T71" fmla="*/ 130 h 468"/>
                <a:gd name="T72" fmla="*/ 26 w 456"/>
                <a:gd name="T73" fmla="*/ 96 h 468"/>
                <a:gd name="T74" fmla="*/ 20 w 456"/>
                <a:gd name="T75" fmla="*/ 44 h 468"/>
                <a:gd name="T76" fmla="*/ 40 w 456"/>
                <a:gd name="T77" fmla="*/ 44 h 468"/>
                <a:gd name="T78" fmla="*/ 66 w 456"/>
                <a:gd name="T79" fmla="*/ 28 h 468"/>
                <a:gd name="T80" fmla="*/ 94 w 456"/>
                <a:gd name="T81" fmla="*/ 0 h 468"/>
                <a:gd name="T82" fmla="*/ 128 w 456"/>
                <a:gd name="T83" fmla="*/ 0 h 468"/>
                <a:gd name="T84" fmla="*/ 154 w 456"/>
                <a:gd name="T85" fmla="*/ 10 h 468"/>
                <a:gd name="T86" fmla="*/ 190 w 456"/>
                <a:gd name="T87" fmla="*/ 18 h 468"/>
                <a:gd name="T88" fmla="*/ 222 w 456"/>
                <a:gd name="T89" fmla="*/ 18 h 468"/>
                <a:gd name="T90" fmla="*/ 256 w 456"/>
                <a:gd name="T91" fmla="*/ 10 h 468"/>
                <a:gd name="T92" fmla="*/ 282 w 456"/>
                <a:gd name="T93" fmla="*/ 0 h 468"/>
                <a:gd name="T94" fmla="*/ 282 w 456"/>
                <a:gd name="T95" fmla="*/ 34 h 468"/>
                <a:gd name="T96" fmla="*/ 296 w 456"/>
                <a:gd name="T97" fmla="*/ 5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6" h="468">
                  <a:moveTo>
                    <a:pt x="310" y="50"/>
                  </a:moveTo>
                  <a:lnTo>
                    <a:pt x="310" y="60"/>
                  </a:lnTo>
                  <a:lnTo>
                    <a:pt x="324" y="76"/>
                  </a:lnTo>
                  <a:lnTo>
                    <a:pt x="338" y="86"/>
                  </a:lnTo>
                  <a:lnTo>
                    <a:pt x="350" y="94"/>
                  </a:lnTo>
                  <a:lnTo>
                    <a:pt x="366" y="94"/>
                  </a:lnTo>
                  <a:lnTo>
                    <a:pt x="378" y="104"/>
                  </a:lnTo>
                  <a:lnTo>
                    <a:pt x="394" y="120"/>
                  </a:lnTo>
                  <a:lnTo>
                    <a:pt x="408" y="120"/>
                  </a:lnTo>
                  <a:lnTo>
                    <a:pt x="420" y="120"/>
                  </a:lnTo>
                  <a:lnTo>
                    <a:pt x="432" y="120"/>
                  </a:lnTo>
                  <a:lnTo>
                    <a:pt x="446" y="130"/>
                  </a:lnTo>
                  <a:lnTo>
                    <a:pt x="456" y="146"/>
                  </a:lnTo>
                  <a:lnTo>
                    <a:pt x="446" y="164"/>
                  </a:lnTo>
                  <a:lnTo>
                    <a:pt x="456" y="180"/>
                  </a:lnTo>
                  <a:lnTo>
                    <a:pt x="446" y="198"/>
                  </a:lnTo>
                  <a:lnTo>
                    <a:pt x="446" y="198"/>
                  </a:lnTo>
                  <a:lnTo>
                    <a:pt x="446" y="208"/>
                  </a:lnTo>
                  <a:lnTo>
                    <a:pt x="430" y="216"/>
                  </a:lnTo>
                  <a:lnTo>
                    <a:pt x="418" y="224"/>
                  </a:lnTo>
                  <a:lnTo>
                    <a:pt x="406" y="242"/>
                  </a:lnTo>
                  <a:lnTo>
                    <a:pt x="398" y="260"/>
                  </a:lnTo>
                  <a:lnTo>
                    <a:pt x="392" y="276"/>
                  </a:lnTo>
                  <a:lnTo>
                    <a:pt x="378" y="286"/>
                  </a:lnTo>
                  <a:lnTo>
                    <a:pt x="378" y="302"/>
                  </a:lnTo>
                  <a:lnTo>
                    <a:pt x="378" y="320"/>
                  </a:lnTo>
                  <a:lnTo>
                    <a:pt x="364" y="330"/>
                  </a:lnTo>
                  <a:lnTo>
                    <a:pt x="350" y="338"/>
                  </a:lnTo>
                  <a:lnTo>
                    <a:pt x="338" y="344"/>
                  </a:lnTo>
                  <a:lnTo>
                    <a:pt x="322" y="364"/>
                  </a:lnTo>
                  <a:lnTo>
                    <a:pt x="318" y="364"/>
                  </a:lnTo>
                  <a:lnTo>
                    <a:pt x="304" y="374"/>
                  </a:lnTo>
                  <a:lnTo>
                    <a:pt x="290" y="380"/>
                  </a:lnTo>
                  <a:lnTo>
                    <a:pt x="282" y="398"/>
                  </a:lnTo>
                  <a:lnTo>
                    <a:pt x="282" y="414"/>
                  </a:lnTo>
                  <a:lnTo>
                    <a:pt x="268" y="414"/>
                  </a:lnTo>
                  <a:lnTo>
                    <a:pt x="264" y="430"/>
                  </a:lnTo>
                  <a:lnTo>
                    <a:pt x="264" y="450"/>
                  </a:lnTo>
                  <a:lnTo>
                    <a:pt x="250" y="458"/>
                  </a:lnTo>
                  <a:lnTo>
                    <a:pt x="236" y="468"/>
                  </a:lnTo>
                  <a:lnTo>
                    <a:pt x="236" y="450"/>
                  </a:lnTo>
                  <a:lnTo>
                    <a:pt x="222" y="440"/>
                  </a:lnTo>
                  <a:lnTo>
                    <a:pt x="208" y="450"/>
                  </a:lnTo>
                  <a:lnTo>
                    <a:pt x="194" y="450"/>
                  </a:lnTo>
                  <a:lnTo>
                    <a:pt x="184" y="440"/>
                  </a:lnTo>
                  <a:lnTo>
                    <a:pt x="174" y="422"/>
                  </a:lnTo>
                  <a:lnTo>
                    <a:pt x="174" y="406"/>
                  </a:lnTo>
                  <a:lnTo>
                    <a:pt x="174" y="388"/>
                  </a:lnTo>
                  <a:lnTo>
                    <a:pt x="160" y="374"/>
                  </a:lnTo>
                  <a:lnTo>
                    <a:pt x="154" y="354"/>
                  </a:lnTo>
                  <a:lnTo>
                    <a:pt x="148" y="338"/>
                  </a:lnTo>
                  <a:lnTo>
                    <a:pt x="134" y="338"/>
                  </a:lnTo>
                  <a:lnTo>
                    <a:pt x="120" y="330"/>
                  </a:lnTo>
                  <a:lnTo>
                    <a:pt x="108" y="338"/>
                  </a:lnTo>
                  <a:lnTo>
                    <a:pt x="94" y="344"/>
                  </a:lnTo>
                  <a:lnTo>
                    <a:pt x="80" y="338"/>
                  </a:lnTo>
                  <a:lnTo>
                    <a:pt x="66" y="338"/>
                  </a:lnTo>
                  <a:lnTo>
                    <a:pt x="52" y="330"/>
                  </a:lnTo>
                  <a:lnTo>
                    <a:pt x="40" y="338"/>
                  </a:lnTo>
                  <a:lnTo>
                    <a:pt x="26" y="338"/>
                  </a:lnTo>
                  <a:lnTo>
                    <a:pt x="20" y="320"/>
                  </a:lnTo>
                  <a:lnTo>
                    <a:pt x="12" y="302"/>
                  </a:lnTo>
                  <a:lnTo>
                    <a:pt x="12" y="286"/>
                  </a:lnTo>
                  <a:lnTo>
                    <a:pt x="12" y="266"/>
                  </a:lnTo>
                  <a:lnTo>
                    <a:pt x="20" y="250"/>
                  </a:lnTo>
                  <a:lnTo>
                    <a:pt x="12" y="234"/>
                  </a:lnTo>
                  <a:lnTo>
                    <a:pt x="12" y="216"/>
                  </a:lnTo>
                  <a:lnTo>
                    <a:pt x="0" y="198"/>
                  </a:lnTo>
                  <a:lnTo>
                    <a:pt x="0" y="180"/>
                  </a:lnTo>
                  <a:lnTo>
                    <a:pt x="0" y="164"/>
                  </a:lnTo>
                  <a:lnTo>
                    <a:pt x="6" y="148"/>
                  </a:lnTo>
                  <a:lnTo>
                    <a:pt x="20" y="130"/>
                  </a:lnTo>
                  <a:lnTo>
                    <a:pt x="26" y="114"/>
                  </a:lnTo>
                  <a:lnTo>
                    <a:pt x="26" y="96"/>
                  </a:lnTo>
                  <a:lnTo>
                    <a:pt x="26" y="78"/>
                  </a:lnTo>
                  <a:lnTo>
                    <a:pt x="20" y="44"/>
                  </a:lnTo>
                  <a:lnTo>
                    <a:pt x="26" y="44"/>
                  </a:lnTo>
                  <a:lnTo>
                    <a:pt x="40" y="44"/>
                  </a:lnTo>
                  <a:lnTo>
                    <a:pt x="52" y="34"/>
                  </a:lnTo>
                  <a:lnTo>
                    <a:pt x="66" y="28"/>
                  </a:lnTo>
                  <a:lnTo>
                    <a:pt x="80" y="10"/>
                  </a:lnTo>
                  <a:lnTo>
                    <a:pt x="94" y="0"/>
                  </a:lnTo>
                  <a:lnTo>
                    <a:pt x="108" y="0"/>
                  </a:lnTo>
                  <a:lnTo>
                    <a:pt x="128" y="0"/>
                  </a:lnTo>
                  <a:lnTo>
                    <a:pt x="142" y="0"/>
                  </a:lnTo>
                  <a:lnTo>
                    <a:pt x="154" y="10"/>
                  </a:lnTo>
                  <a:lnTo>
                    <a:pt x="174" y="18"/>
                  </a:lnTo>
                  <a:lnTo>
                    <a:pt x="190" y="18"/>
                  </a:lnTo>
                  <a:lnTo>
                    <a:pt x="208" y="18"/>
                  </a:lnTo>
                  <a:lnTo>
                    <a:pt x="222" y="18"/>
                  </a:lnTo>
                  <a:lnTo>
                    <a:pt x="236" y="18"/>
                  </a:lnTo>
                  <a:lnTo>
                    <a:pt x="256" y="10"/>
                  </a:lnTo>
                  <a:lnTo>
                    <a:pt x="268" y="10"/>
                  </a:lnTo>
                  <a:lnTo>
                    <a:pt x="282" y="0"/>
                  </a:lnTo>
                  <a:lnTo>
                    <a:pt x="282" y="18"/>
                  </a:lnTo>
                  <a:lnTo>
                    <a:pt x="282" y="34"/>
                  </a:lnTo>
                  <a:lnTo>
                    <a:pt x="282" y="50"/>
                  </a:lnTo>
                  <a:lnTo>
                    <a:pt x="296" y="50"/>
                  </a:lnTo>
                  <a:lnTo>
                    <a:pt x="310" y="5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73"/>
            <p:cNvSpPr>
              <a:spLocks/>
            </p:cNvSpPr>
            <p:nvPr/>
          </p:nvSpPr>
          <p:spPr bwMode="auto">
            <a:xfrm>
              <a:off x="2067915" y="3912099"/>
              <a:ext cx="681638" cy="699576"/>
            </a:xfrm>
            <a:custGeom>
              <a:avLst/>
              <a:gdLst>
                <a:gd name="T0" fmla="*/ 310 w 456"/>
                <a:gd name="T1" fmla="*/ 60 h 468"/>
                <a:gd name="T2" fmla="*/ 338 w 456"/>
                <a:gd name="T3" fmla="*/ 86 h 468"/>
                <a:gd name="T4" fmla="*/ 366 w 456"/>
                <a:gd name="T5" fmla="*/ 94 h 468"/>
                <a:gd name="T6" fmla="*/ 394 w 456"/>
                <a:gd name="T7" fmla="*/ 120 h 468"/>
                <a:gd name="T8" fmla="*/ 420 w 456"/>
                <a:gd name="T9" fmla="*/ 120 h 468"/>
                <a:gd name="T10" fmla="*/ 446 w 456"/>
                <a:gd name="T11" fmla="*/ 130 h 468"/>
                <a:gd name="T12" fmla="*/ 446 w 456"/>
                <a:gd name="T13" fmla="*/ 164 h 468"/>
                <a:gd name="T14" fmla="*/ 446 w 456"/>
                <a:gd name="T15" fmla="*/ 198 h 468"/>
                <a:gd name="T16" fmla="*/ 446 w 456"/>
                <a:gd name="T17" fmla="*/ 208 h 468"/>
                <a:gd name="T18" fmla="*/ 418 w 456"/>
                <a:gd name="T19" fmla="*/ 224 h 468"/>
                <a:gd name="T20" fmla="*/ 398 w 456"/>
                <a:gd name="T21" fmla="*/ 260 h 468"/>
                <a:gd name="T22" fmla="*/ 378 w 456"/>
                <a:gd name="T23" fmla="*/ 286 h 468"/>
                <a:gd name="T24" fmla="*/ 378 w 456"/>
                <a:gd name="T25" fmla="*/ 320 h 468"/>
                <a:gd name="T26" fmla="*/ 350 w 456"/>
                <a:gd name="T27" fmla="*/ 338 h 468"/>
                <a:gd name="T28" fmla="*/ 322 w 456"/>
                <a:gd name="T29" fmla="*/ 364 h 468"/>
                <a:gd name="T30" fmla="*/ 304 w 456"/>
                <a:gd name="T31" fmla="*/ 374 h 468"/>
                <a:gd name="T32" fmla="*/ 282 w 456"/>
                <a:gd name="T33" fmla="*/ 398 h 468"/>
                <a:gd name="T34" fmla="*/ 268 w 456"/>
                <a:gd name="T35" fmla="*/ 414 h 468"/>
                <a:gd name="T36" fmla="*/ 264 w 456"/>
                <a:gd name="T37" fmla="*/ 450 h 468"/>
                <a:gd name="T38" fmla="*/ 236 w 456"/>
                <a:gd name="T39" fmla="*/ 468 h 468"/>
                <a:gd name="T40" fmla="*/ 222 w 456"/>
                <a:gd name="T41" fmla="*/ 440 h 468"/>
                <a:gd name="T42" fmla="*/ 194 w 456"/>
                <a:gd name="T43" fmla="*/ 450 h 468"/>
                <a:gd name="T44" fmla="*/ 174 w 456"/>
                <a:gd name="T45" fmla="*/ 422 h 468"/>
                <a:gd name="T46" fmla="*/ 174 w 456"/>
                <a:gd name="T47" fmla="*/ 388 h 468"/>
                <a:gd name="T48" fmla="*/ 154 w 456"/>
                <a:gd name="T49" fmla="*/ 354 h 468"/>
                <a:gd name="T50" fmla="*/ 134 w 456"/>
                <a:gd name="T51" fmla="*/ 338 h 468"/>
                <a:gd name="T52" fmla="*/ 108 w 456"/>
                <a:gd name="T53" fmla="*/ 338 h 468"/>
                <a:gd name="T54" fmla="*/ 80 w 456"/>
                <a:gd name="T55" fmla="*/ 338 h 468"/>
                <a:gd name="T56" fmla="*/ 52 w 456"/>
                <a:gd name="T57" fmla="*/ 330 h 468"/>
                <a:gd name="T58" fmla="*/ 26 w 456"/>
                <a:gd name="T59" fmla="*/ 338 h 468"/>
                <a:gd name="T60" fmla="*/ 12 w 456"/>
                <a:gd name="T61" fmla="*/ 302 h 468"/>
                <a:gd name="T62" fmla="*/ 12 w 456"/>
                <a:gd name="T63" fmla="*/ 266 h 468"/>
                <a:gd name="T64" fmla="*/ 12 w 456"/>
                <a:gd name="T65" fmla="*/ 234 h 468"/>
                <a:gd name="T66" fmla="*/ 0 w 456"/>
                <a:gd name="T67" fmla="*/ 198 h 468"/>
                <a:gd name="T68" fmla="*/ 0 w 456"/>
                <a:gd name="T69" fmla="*/ 164 h 468"/>
                <a:gd name="T70" fmla="*/ 20 w 456"/>
                <a:gd name="T71" fmla="*/ 130 h 468"/>
                <a:gd name="T72" fmla="*/ 26 w 456"/>
                <a:gd name="T73" fmla="*/ 96 h 468"/>
                <a:gd name="T74" fmla="*/ 20 w 456"/>
                <a:gd name="T75" fmla="*/ 44 h 468"/>
                <a:gd name="T76" fmla="*/ 40 w 456"/>
                <a:gd name="T77" fmla="*/ 44 h 468"/>
                <a:gd name="T78" fmla="*/ 66 w 456"/>
                <a:gd name="T79" fmla="*/ 28 h 468"/>
                <a:gd name="T80" fmla="*/ 94 w 456"/>
                <a:gd name="T81" fmla="*/ 0 h 468"/>
                <a:gd name="T82" fmla="*/ 128 w 456"/>
                <a:gd name="T83" fmla="*/ 0 h 468"/>
                <a:gd name="T84" fmla="*/ 154 w 456"/>
                <a:gd name="T85" fmla="*/ 10 h 468"/>
                <a:gd name="T86" fmla="*/ 190 w 456"/>
                <a:gd name="T87" fmla="*/ 18 h 468"/>
                <a:gd name="T88" fmla="*/ 222 w 456"/>
                <a:gd name="T89" fmla="*/ 18 h 468"/>
                <a:gd name="T90" fmla="*/ 256 w 456"/>
                <a:gd name="T91" fmla="*/ 10 h 468"/>
                <a:gd name="T92" fmla="*/ 282 w 456"/>
                <a:gd name="T93" fmla="*/ 0 h 468"/>
                <a:gd name="T94" fmla="*/ 282 w 456"/>
                <a:gd name="T95" fmla="*/ 34 h 468"/>
                <a:gd name="T96" fmla="*/ 296 w 456"/>
                <a:gd name="T97" fmla="*/ 5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6" h="468">
                  <a:moveTo>
                    <a:pt x="310" y="50"/>
                  </a:moveTo>
                  <a:lnTo>
                    <a:pt x="310" y="60"/>
                  </a:lnTo>
                  <a:lnTo>
                    <a:pt x="324" y="76"/>
                  </a:lnTo>
                  <a:lnTo>
                    <a:pt x="338" y="86"/>
                  </a:lnTo>
                  <a:lnTo>
                    <a:pt x="350" y="94"/>
                  </a:lnTo>
                  <a:lnTo>
                    <a:pt x="366" y="94"/>
                  </a:lnTo>
                  <a:lnTo>
                    <a:pt x="378" y="104"/>
                  </a:lnTo>
                  <a:lnTo>
                    <a:pt x="394" y="120"/>
                  </a:lnTo>
                  <a:lnTo>
                    <a:pt x="408" y="120"/>
                  </a:lnTo>
                  <a:lnTo>
                    <a:pt x="420" y="120"/>
                  </a:lnTo>
                  <a:lnTo>
                    <a:pt x="432" y="120"/>
                  </a:lnTo>
                  <a:lnTo>
                    <a:pt x="446" y="130"/>
                  </a:lnTo>
                  <a:lnTo>
                    <a:pt x="456" y="146"/>
                  </a:lnTo>
                  <a:lnTo>
                    <a:pt x="446" y="164"/>
                  </a:lnTo>
                  <a:lnTo>
                    <a:pt x="456" y="180"/>
                  </a:lnTo>
                  <a:lnTo>
                    <a:pt x="446" y="198"/>
                  </a:lnTo>
                  <a:lnTo>
                    <a:pt x="446" y="198"/>
                  </a:lnTo>
                  <a:lnTo>
                    <a:pt x="446" y="208"/>
                  </a:lnTo>
                  <a:lnTo>
                    <a:pt x="430" y="216"/>
                  </a:lnTo>
                  <a:lnTo>
                    <a:pt x="418" y="224"/>
                  </a:lnTo>
                  <a:lnTo>
                    <a:pt x="406" y="242"/>
                  </a:lnTo>
                  <a:lnTo>
                    <a:pt x="398" y="260"/>
                  </a:lnTo>
                  <a:lnTo>
                    <a:pt x="392" y="276"/>
                  </a:lnTo>
                  <a:lnTo>
                    <a:pt x="378" y="286"/>
                  </a:lnTo>
                  <a:lnTo>
                    <a:pt x="378" y="302"/>
                  </a:lnTo>
                  <a:lnTo>
                    <a:pt x="378" y="320"/>
                  </a:lnTo>
                  <a:lnTo>
                    <a:pt x="364" y="330"/>
                  </a:lnTo>
                  <a:lnTo>
                    <a:pt x="350" y="338"/>
                  </a:lnTo>
                  <a:lnTo>
                    <a:pt x="338" y="344"/>
                  </a:lnTo>
                  <a:lnTo>
                    <a:pt x="322" y="364"/>
                  </a:lnTo>
                  <a:lnTo>
                    <a:pt x="318" y="364"/>
                  </a:lnTo>
                  <a:lnTo>
                    <a:pt x="304" y="374"/>
                  </a:lnTo>
                  <a:lnTo>
                    <a:pt x="290" y="380"/>
                  </a:lnTo>
                  <a:lnTo>
                    <a:pt x="282" y="398"/>
                  </a:lnTo>
                  <a:lnTo>
                    <a:pt x="282" y="414"/>
                  </a:lnTo>
                  <a:lnTo>
                    <a:pt x="268" y="414"/>
                  </a:lnTo>
                  <a:lnTo>
                    <a:pt x="264" y="430"/>
                  </a:lnTo>
                  <a:lnTo>
                    <a:pt x="264" y="450"/>
                  </a:lnTo>
                  <a:lnTo>
                    <a:pt x="250" y="458"/>
                  </a:lnTo>
                  <a:lnTo>
                    <a:pt x="236" y="468"/>
                  </a:lnTo>
                  <a:lnTo>
                    <a:pt x="236" y="450"/>
                  </a:lnTo>
                  <a:lnTo>
                    <a:pt x="222" y="440"/>
                  </a:lnTo>
                  <a:lnTo>
                    <a:pt x="208" y="450"/>
                  </a:lnTo>
                  <a:lnTo>
                    <a:pt x="194" y="450"/>
                  </a:lnTo>
                  <a:lnTo>
                    <a:pt x="184" y="440"/>
                  </a:lnTo>
                  <a:lnTo>
                    <a:pt x="174" y="422"/>
                  </a:lnTo>
                  <a:lnTo>
                    <a:pt x="174" y="406"/>
                  </a:lnTo>
                  <a:lnTo>
                    <a:pt x="174" y="388"/>
                  </a:lnTo>
                  <a:lnTo>
                    <a:pt x="160" y="374"/>
                  </a:lnTo>
                  <a:lnTo>
                    <a:pt x="154" y="354"/>
                  </a:lnTo>
                  <a:lnTo>
                    <a:pt x="148" y="338"/>
                  </a:lnTo>
                  <a:lnTo>
                    <a:pt x="134" y="338"/>
                  </a:lnTo>
                  <a:lnTo>
                    <a:pt x="120" y="330"/>
                  </a:lnTo>
                  <a:lnTo>
                    <a:pt x="108" y="338"/>
                  </a:lnTo>
                  <a:lnTo>
                    <a:pt x="94" y="344"/>
                  </a:lnTo>
                  <a:lnTo>
                    <a:pt x="80" y="338"/>
                  </a:lnTo>
                  <a:lnTo>
                    <a:pt x="66" y="338"/>
                  </a:lnTo>
                  <a:lnTo>
                    <a:pt x="52" y="330"/>
                  </a:lnTo>
                  <a:lnTo>
                    <a:pt x="40" y="338"/>
                  </a:lnTo>
                  <a:lnTo>
                    <a:pt x="26" y="338"/>
                  </a:lnTo>
                  <a:lnTo>
                    <a:pt x="20" y="320"/>
                  </a:lnTo>
                  <a:lnTo>
                    <a:pt x="12" y="302"/>
                  </a:lnTo>
                  <a:lnTo>
                    <a:pt x="12" y="286"/>
                  </a:lnTo>
                  <a:lnTo>
                    <a:pt x="12" y="266"/>
                  </a:lnTo>
                  <a:lnTo>
                    <a:pt x="20" y="250"/>
                  </a:lnTo>
                  <a:lnTo>
                    <a:pt x="12" y="234"/>
                  </a:lnTo>
                  <a:lnTo>
                    <a:pt x="12" y="216"/>
                  </a:lnTo>
                  <a:lnTo>
                    <a:pt x="0" y="198"/>
                  </a:lnTo>
                  <a:lnTo>
                    <a:pt x="0" y="180"/>
                  </a:lnTo>
                  <a:lnTo>
                    <a:pt x="0" y="164"/>
                  </a:lnTo>
                  <a:lnTo>
                    <a:pt x="6" y="148"/>
                  </a:lnTo>
                  <a:lnTo>
                    <a:pt x="20" y="130"/>
                  </a:lnTo>
                  <a:lnTo>
                    <a:pt x="26" y="114"/>
                  </a:lnTo>
                  <a:lnTo>
                    <a:pt x="26" y="96"/>
                  </a:lnTo>
                  <a:lnTo>
                    <a:pt x="26" y="78"/>
                  </a:lnTo>
                  <a:lnTo>
                    <a:pt x="20" y="44"/>
                  </a:lnTo>
                  <a:lnTo>
                    <a:pt x="26" y="44"/>
                  </a:lnTo>
                  <a:lnTo>
                    <a:pt x="40" y="44"/>
                  </a:lnTo>
                  <a:lnTo>
                    <a:pt x="52" y="34"/>
                  </a:lnTo>
                  <a:lnTo>
                    <a:pt x="66" y="28"/>
                  </a:lnTo>
                  <a:lnTo>
                    <a:pt x="80" y="10"/>
                  </a:lnTo>
                  <a:lnTo>
                    <a:pt x="94" y="0"/>
                  </a:lnTo>
                  <a:lnTo>
                    <a:pt x="108" y="0"/>
                  </a:lnTo>
                  <a:lnTo>
                    <a:pt x="128" y="0"/>
                  </a:lnTo>
                  <a:lnTo>
                    <a:pt x="142" y="0"/>
                  </a:lnTo>
                  <a:lnTo>
                    <a:pt x="154" y="10"/>
                  </a:lnTo>
                  <a:lnTo>
                    <a:pt x="174" y="18"/>
                  </a:lnTo>
                  <a:lnTo>
                    <a:pt x="190" y="18"/>
                  </a:lnTo>
                  <a:lnTo>
                    <a:pt x="208" y="18"/>
                  </a:lnTo>
                  <a:lnTo>
                    <a:pt x="222" y="18"/>
                  </a:lnTo>
                  <a:lnTo>
                    <a:pt x="236" y="18"/>
                  </a:lnTo>
                  <a:lnTo>
                    <a:pt x="256" y="10"/>
                  </a:lnTo>
                  <a:lnTo>
                    <a:pt x="268" y="10"/>
                  </a:lnTo>
                  <a:lnTo>
                    <a:pt x="282" y="0"/>
                  </a:lnTo>
                  <a:lnTo>
                    <a:pt x="282" y="18"/>
                  </a:lnTo>
                  <a:lnTo>
                    <a:pt x="282" y="34"/>
                  </a:lnTo>
                  <a:lnTo>
                    <a:pt x="282" y="50"/>
                  </a:lnTo>
                  <a:lnTo>
                    <a:pt x="296" y="50"/>
                  </a:lnTo>
                  <a:lnTo>
                    <a:pt x="310" y="50"/>
                  </a:lnTo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74"/>
            <p:cNvSpPr>
              <a:spLocks/>
            </p:cNvSpPr>
            <p:nvPr/>
          </p:nvSpPr>
          <p:spPr bwMode="auto">
            <a:xfrm>
              <a:off x="2540278" y="4172198"/>
              <a:ext cx="789265" cy="541125"/>
            </a:xfrm>
            <a:custGeom>
              <a:avLst/>
              <a:gdLst>
                <a:gd name="T0" fmla="*/ 136 w 528"/>
                <a:gd name="T1" fmla="*/ 24 h 362"/>
                <a:gd name="T2" fmla="*/ 162 w 528"/>
                <a:gd name="T3" fmla="*/ 0 h 362"/>
                <a:gd name="T4" fmla="*/ 190 w 528"/>
                <a:gd name="T5" fmla="*/ 4 h 362"/>
                <a:gd name="T6" fmla="*/ 216 w 528"/>
                <a:gd name="T7" fmla="*/ 0 h 362"/>
                <a:gd name="T8" fmla="*/ 230 w 528"/>
                <a:gd name="T9" fmla="*/ 16 h 362"/>
                <a:gd name="T10" fmla="*/ 250 w 528"/>
                <a:gd name="T11" fmla="*/ 24 h 362"/>
                <a:gd name="T12" fmla="*/ 278 w 528"/>
                <a:gd name="T13" fmla="*/ 42 h 362"/>
                <a:gd name="T14" fmla="*/ 304 w 528"/>
                <a:gd name="T15" fmla="*/ 24 h 362"/>
                <a:gd name="T16" fmla="*/ 330 w 528"/>
                <a:gd name="T17" fmla="*/ 16 h 362"/>
                <a:gd name="T18" fmla="*/ 354 w 528"/>
                <a:gd name="T19" fmla="*/ 32 h 362"/>
                <a:gd name="T20" fmla="*/ 372 w 528"/>
                <a:gd name="T21" fmla="*/ 60 h 362"/>
                <a:gd name="T22" fmla="*/ 372 w 528"/>
                <a:gd name="T23" fmla="*/ 92 h 362"/>
                <a:gd name="T24" fmla="*/ 392 w 528"/>
                <a:gd name="T25" fmla="*/ 120 h 362"/>
                <a:gd name="T26" fmla="*/ 400 w 528"/>
                <a:gd name="T27" fmla="*/ 154 h 362"/>
                <a:gd name="T28" fmla="*/ 406 w 528"/>
                <a:gd name="T29" fmla="*/ 180 h 362"/>
                <a:gd name="T30" fmla="*/ 426 w 528"/>
                <a:gd name="T31" fmla="*/ 206 h 362"/>
                <a:gd name="T32" fmla="*/ 454 w 528"/>
                <a:gd name="T33" fmla="*/ 206 h 362"/>
                <a:gd name="T34" fmla="*/ 480 w 528"/>
                <a:gd name="T35" fmla="*/ 198 h 362"/>
                <a:gd name="T36" fmla="*/ 506 w 528"/>
                <a:gd name="T37" fmla="*/ 180 h 362"/>
                <a:gd name="T38" fmla="*/ 528 w 528"/>
                <a:gd name="T39" fmla="*/ 180 h 362"/>
                <a:gd name="T40" fmla="*/ 514 w 528"/>
                <a:gd name="T41" fmla="*/ 206 h 362"/>
                <a:gd name="T42" fmla="*/ 522 w 528"/>
                <a:gd name="T43" fmla="*/ 232 h 362"/>
                <a:gd name="T44" fmla="*/ 500 w 528"/>
                <a:gd name="T45" fmla="*/ 250 h 362"/>
                <a:gd name="T46" fmla="*/ 468 w 528"/>
                <a:gd name="T47" fmla="*/ 258 h 362"/>
                <a:gd name="T48" fmla="*/ 440 w 528"/>
                <a:gd name="T49" fmla="*/ 276 h 362"/>
                <a:gd name="T50" fmla="*/ 400 w 528"/>
                <a:gd name="T51" fmla="*/ 276 h 362"/>
                <a:gd name="T52" fmla="*/ 372 w 528"/>
                <a:gd name="T53" fmla="*/ 302 h 362"/>
                <a:gd name="T54" fmla="*/ 344 w 528"/>
                <a:gd name="T55" fmla="*/ 328 h 362"/>
                <a:gd name="T56" fmla="*/ 316 w 528"/>
                <a:gd name="T57" fmla="*/ 354 h 362"/>
                <a:gd name="T58" fmla="*/ 304 w 528"/>
                <a:gd name="T59" fmla="*/ 354 h 362"/>
                <a:gd name="T60" fmla="*/ 292 w 528"/>
                <a:gd name="T61" fmla="*/ 346 h 362"/>
                <a:gd name="T62" fmla="*/ 270 w 528"/>
                <a:gd name="T63" fmla="*/ 336 h 362"/>
                <a:gd name="T64" fmla="*/ 244 w 528"/>
                <a:gd name="T65" fmla="*/ 328 h 362"/>
                <a:gd name="T66" fmla="*/ 222 w 528"/>
                <a:gd name="T67" fmla="*/ 312 h 362"/>
                <a:gd name="T68" fmla="*/ 230 w 528"/>
                <a:gd name="T69" fmla="*/ 276 h 362"/>
                <a:gd name="T70" fmla="*/ 208 w 528"/>
                <a:gd name="T71" fmla="*/ 250 h 362"/>
                <a:gd name="T72" fmla="*/ 202 w 528"/>
                <a:gd name="T73" fmla="*/ 216 h 362"/>
                <a:gd name="T74" fmla="*/ 168 w 528"/>
                <a:gd name="T75" fmla="*/ 206 h 362"/>
                <a:gd name="T76" fmla="*/ 140 w 528"/>
                <a:gd name="T77" fmla="*/ 216 h 362"/>
                <a:gd name="T78" fmla="*/ 114 w 528"/>
                <a:gd name="T79" fmla="*/ 190 h 362"/>
                <a:gd name="T80" fmla="*/ 88 w 528"/>
                <a:gd name="T81" fmla="*/ 190 h 362"/>
                <a:gd name="T82" fmla="*/ 62 w 528"/>
                <a:gd name="T83" fmla="*/ 180 h 362"/>
                <a:gd name="T84" fmla="*/ 34 w 528"/>
                <a:gd name="T85" fmla="*/ 198 h 362"/>
                <a:gd name="T86" fmla="*/ 6 w 528"/>
                <a:gd name="T87" fmla="*/ 190 h 362"/>
                <a:gd name="T88" fmla="*/ 6 w 528"/>
                <a:gd name="T89" fmla="*/ 190 h 362"/>
                <a:gd name="T90" fmla="*/ 34 w 528"/>
                <a:gd name="T91" fmla="*/ 162 h 362"/>
                <a:gd name="T92" fmla="*/ 62 w 528"/>
                <a:gd name="T93" fmla="*/ 144 h 362"/>
                <a:gd name="T94" fmla="*/ 62 w 528"/>
                <a:gd name="T95" fmla="*/ 108 h 362"/>
                <a:gd name="T96" fmla="*/ 82 w 528"/>
                <a:gd name="T97" fmla="*/ 84 h 362"/>
                <a:gd name="T98" fmla="*/ 102 w 528"/>
                <a:gd name="T99" fmla="*/ 48 h 362"/>
                <a:gd name="T100" fmla="*/ 128 w 528"/>
                <a:gd name="T101" fmla="*/ 30 h 362"/>
                <a:gd name="T102" fmla="*/ 122 w 528"/>
                <a:gd name="T103" fmla="*/ 3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28" h="362">
                  <a:moveTo>
                    <a:pt x="122" y="32"/>
                  </a:moveTo>
                  <a:lnTo>
                    <a:pt x="136" y="24"/>
                  </a:lnTo>
                  <a:lnTo>
                    <a:pt x="148" y="16"/>
                  </a:lnTo>
                  <a:lnTo>
                    <a:pt x="162" y="0"/>
                  </a:lnTo>
                  <a:lnTo>
                    <a:pt x="176" y="0"/>
                  </a:lnTo>
                  <a:lnTo>
                    <a:pt x="190" y="4"/>
                  </a:lnTo>
                  <a:lnTo>
                    <a:pt x="204" y="4"/>
                  </a:lnTo>
                  <a:lnTo>
                    <a:pt x="216" y="0"/>
                  </a:lnTo>
                  <a:lnTo>
                    <a:pt x="230" y="0"/>
                  </a:lnTo>
                  <a:lnTo>
                    <a:pt x="230" y="16"/>
                  </a:lnTo>
                  <a:lnTo>
                    <a:pt x="238" y="32"/>
                  </a:lnTo>
                  <a:lnTo>
                    <a:pt x="250" y="24"/>
                  </a:lnTo>
                  <a:lnTo>
                    <a:pt x="264" y="32"/>
                  </a:lnTo>
                  <a:lnTo>
                    <a:pt x="278" y="42"/>
                  </a:lnTo>
                  <a:lnTo>
                    <a:pt x="292" y="24"/>
                  </a:lnTo>
                  <a:lnTo>
                    <a:pt x="304" y="24"/>
                  </a:lnTo>
                  <a:lnTo>
                    <a:pt x="316" y="24"/>
                  </a:lnTo>
                  <a:lnTo>
                    <a:pt x="330" y="16"/>
                  </a:lnTo>
                  <a:lnTo>
                    <a:pt x="344" y="16"/>
                  </a:lnTo>
                  <a:lnTo>
                    <a:pt x="354" y="32"/>
                  </a:lnTo>
                  <a:lnTo>
                    <a:pt x="360" y="50"/>
                  </a:lnTo>
                  <a:lnTo>
                    <a:pt x="372" y="60"/>
                  </a:lnTo>
                  <a:lnTo>
                    <a:pt x="372" y="76"/>
                  </a:lnTo>
                  <a:lnTo>
                    <a:pt x="372" y="92"/>
                  </a:lnTo>
                  <a:lnTo>
                    <a:pt x="378" y="110"/>
                  </a:lnTo>
                  <a:lnTo>
                    <a:pt x="392" y="120"/>
                  </a:lnTo>
                  <a:lnTo>
                    <a:pt x="392" y="138"/>
                  </a:lnTo>
                  <a:lnTo>
                    <a:pt x="400" y="154"/>
                  </a:lnTo>
                  <a:lnTo>
                    <a:pt x="392" y="170"/>
                  </a:lnTo>
                  <a:lnTo>
                    <a:pt x="406" y="180"/>
                  </a:lnTo>
                  <a:lnTo>
                    <a:pt x="414" y="198"/>
                  </a:lnTo>
                  <a:lnTo>
                    <a:pt x="426" y="206"/>
                  </a:lnTo>
                  <a:lnTo>
                    <a:pt x="440" y="198"/>
                  </a:lnTo>
                  <a:lnTo>
                    <a:pt x="454" y="206"/>
                  </a:lnTo>
                  <a:lnTo>
                    <a:pt x="468" y="206"/>
                  </a:lnTo>
                  <a:lnTo>
                    <a:pt x="480" y="198"/>
                  </a:lnTo>
                  <a:lnTo>
                    <a:pt x="494" y="190"/>
                  </a:lnTo>
                  <a:lnTo>
                    <a:pt x="506" y="180"/>
                  </a:lnTo>
                  <a:lnTo>
                    <a:pt x="522" y="180"/>
                  </a:lnTo>
                  <a:lnTo>
                    <a:pt x="528" y="180"/>
                  </a:lnTo>
                  <a:lnTo>
                    <a:pt x="528" y="196"/>
                  </a:lnTo>
                  <a:lnTo>
                    <a:pt x="514" y="206"/>
                  </a:lnTo>
                  <a:lnTo>
                    <a:pt x="514" y="222"/>
                  </a:lnTo>
                  <a:lnTo>
                    <a:pt x="522" y="232"/>
                  </a:lnTo>
                  <a:lnTo>
                    <a:pt x="514" y="250"/>
                  </a:lnTo>
                  <a:lnTo>
                    <a:pt x="500" y="250"/>
                  </a:lnTo>
                  <a:lnTo>
                    <a:pt x="480" y="250"/>
                  </a:lnTo>
                  <a:lnTo>
                    <a:pt x="468" y="258"/>
                  </a:lnTo>
                  <a:lnTo>
                    <a:pt x="462" y="276"/>
                  </a:lnTo>
                  <a:lnTo>
                    <a:pt x="440" y="276"/>
                  </a:lnTo>
                  <a:lnTo>
                    <a:pt x="420" y="276"/>
                  </a:lnTo>
                  <a:lnTo>
                    <a:pt x="400" y="276"/>
                  </a:lnTo>
                  <a:lnTo>
                    <a:pt x="386" y="292"/>
                  </a:lnTo>
                  <a:lnTo>
                    <a:pt x="372" y="302"/>
                  </a:lnTo>
                  <a:lnTo>
                    <a:pt x="352" y="312"/>
                  </a:lnTo>
                  <a:lnTo>
                    <a:pt x="344" y="328"/>
                  </a:lnTo>
                  <a:lnTo>
                    <a:pt x="330" y="336"/>
                  </a:lnTo>
                  <a:lnTo>
                    <a:pt x="316" y="354"/>
                  </a:lnTo>
                  <a:lnTo>
                    <a:pt x="304" y="362"/>
                  </a:lnTo>
                  <a:lnTo>
                    <a:pt x="304" y="354"/>
                  </a:lnTo>
                  <a:lnTo>
                    <a:pt x="298" y="348"/>
                  </a:lnTo>
                  <a:lnTo>
                    <a:pt x="292" y="346"/>
                  </a:lnTo>
                  <a:lnTo>
                    <a:pt x="278" y="354"/>
                  </a:lnTo>
                  <a:lnTo>
                    <a:pt x="270" y="336"/>
                  </a:lnTo>
                  <a:lnTo>
                    <a:pt x="258" y="328"/>
                  </a:lnTo>
                  <a:lnTo>
                    <a:pt x="244" y="328"/>
                  </a:lnTo>
                  <a:lnTo>
                    <a:pt x="230" y="328"/>
                  </a:lnTo>
                  <a:lnTo>
                    <a:pt x="222" y="312"/>
                  </a:lnTo>
                  <a:lnTo>
                    <a:pt x="230" y="292"/>
                  </a:lnTo>
                  <a:lnTo>
                    <a:pt x="230" y="276"/>
                  </a:lnTo>
                  <a:lnTo>
                    <a:pt x="216" y="266"/>
                  </a:lnTo>
                  <a:lnTo>
                    <a:pt x="208" y="250"/>
                  </a:lnTo>
                  <a:lnTo>
                    <a:pt x="216" y="232"/>
                  </a:lnTo>
                  <a:lnTo>
                    <a:pt x="202" y="216"/>
                  </a:lnTo>
                  <a:lnTo>
                    <a:pt x="182" y="206"/>
                  </a:lnTo>
                  <a:lnTo>
                    <a:pt x="168" y="206"/>
                  </a:lnTo>
                  <a:lnTo>
                    <a:pt x="156" y="216"/>
                  </a:lnTo>
                  <a:lnTo>
                    <a:pt x="140" y="216"/>
                  </a:lnTo>
                  <a:lnTo>
                    <a:pt x="128" y="198"/>
                  </a:lnTo>
                  <a:lnTo>
                    <a:pt x="114" y="190"/>
                  </a:lnTo>
                  <a:lnTo>
                    <a:pt x="102" y="190"/>
                  </a:lnTo>
                  <a:lnTo>
                    <a:pt x="88" y="190"/>
                  </a:lnTo>
                  <a:lnTo>
                    <a:pt x="76" y="180"/>
                  </a:lnTo>
                  <a:lnTo>
                    <a:pt x="62" y="180"/>
                  </a:lnTo>
                  <a:lnTo>
                    <a:pt x="46" y="190"/>
                  </a:lnTo>
                  <a:lnTo>
                    <a:pt x="34" y="198"/>
                  </a:lnTo>
                  <a:lnTo>
                    <a:pt x="20" y="198"/>
                  </a:lnTo>
                  <a:lnTo>
                    <a:pt x="6" y="190"/>
                  </a:lnTo>
                  <a:lnTo>
                    <a:pt x="0" y="190"/>
                  </a:lnTo>
                  <a:lnTo>
                    <a:pt x="6" y="190"/>
                  </a:lnTo>
                  <a:lnTo>
                    <a:pt x="20" y="170"/>
                  </a:lnTo>
                  <a:lnTo>
                    <a:pt x="34" y="162"/>
                  </a:lnTo>
                  <a:lnTo>
                    <a:pt x="46" y="152"/>
                  </a:lnTo>
                  <a:lnTo>
                    <a:pt x="62" y="144"/>
                  </a:lnTo>
                  <a:lnTo>
                    <a:pt x="62" y="128"/>
                  </a:lnTo>
                  <a:lnTo>
                    <a:pt x="62" y="108"/>
                  </a:lnTo>
                  <a:lnTo>
                    <a:pt x="72" y="102"/>
                  </a:lnTo>
                  <a:lnTo>
                    <a:pt x="82" y="84"/>
                  </a:lnTo>
                  <a:lnTo>
                    <a:pt x="86" y="66"/>
                  </a:lnTo>
                  <a:lnTo>
                    <a:pt x="102" y="48"/>
                  </a:lnTo>
                  <a:lnTo>
                    <a:pt x="114" y="40"/>
                  </a:lnTo>
                  <a:lnTo>
                    <a:pt x="128" y="30"/>
                  </a:lnTo>
                  <a:lnTo>
                    <a:pt x="128" y="28"/>
                  </a:lnTo>
                  <a:lnTo>
                    <a:pt x="122" y="32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75"/>
            <p:cNvSpPr>
              <a:spLocks/>
            </p:cNvSpPr>
            <p:nvPr/>
          </p:nvSpPr>
          <p:spPr bwMode="auto">
            <a:xfrm>
              <a:off x="2540278" y="4172198"/>
              <a:ext cx="789265" cy="541125"/>
            </a:xfrm>
            <a:custGeom>
              <a:avLst/>
              <a:gdLst>
                <a:gd name="T0" fmla="*/ 136 w 528"/>
                <a:gd name="T1" fmla="*/ 24 h 362"/>
                <a:gd name="T2" fmla="*/ 162 w 528"/>
                <a:gd name="T3" fmla="*/ 0 h 362"/>
                <a:gd name="T4" fmla="*/ 190 w 528"/>
                <a:gd name="T5" fmla="*/ 4 h 362"/>
                <a:gd name="T6" fmla="*/ 216 w 528"/>
                <a:gd name="T7" fmla="*/ 0 h 362"/>
                <a:gd name="T8" fmla="*/ 230 w 528"/>
                <a:gd name="T9" fmla="*/ 16 h 362"/>
                <a:gd name="T10" fmla="*/ 250 w 528"/>
                <a:gd name="T11" fmla="*/ 24 h 362"/>
                <a:gd name="T12" fmla="*/ 278 w 528"/>
                <a:gd name="T13" fmla="*/ 42 h 362"/>
                <a:gd name="T14" fmla="*/ 304 w 528"/>
                <a:gd name="T15" fmla="*/ 24 h 362"/>
                <a:gd name="T16" fmla="*/ 330 w 528"/>
                <a:gd name="T17" fmla="*/ 16 h 362"/>
                <a:gd name="T18" fmla="*/ 354 w 528"/>
                <a:gd name="T19" fmla="*/ 32 h 362"/>
                <a:gd name="T20" fmla="*/ 372 w 528"/>
                <a:gd name="T21" fmla="*/ 60 h 362"/>
                <a:gd name="T22" fmla="*/ 372 w 528"/>
                <a:gd name="T23" fmla="*/ 92 h 362"/>
                <a:gd name="T24" fmla="*/ 392 w 528"/>
                <a:gd name="T25" fmla="*/ 120 h 362"/>
                <a:gd name="T26" fmla="*/ 400 w 528"/>
                <a:gd name="T27" fmla="*/ 154 h 362"/>
                <a:gd name="T28" fmla="*/ 406 w 528"/>
                <a:gd name="T29" fmla="*/ 180 h 362"/>
                <a:gd name="T30" fmla="*/ 426 w 528"/>
                <a:gd name="T31" fmla="*/ 206 h 362"/>
                <a:gd name="T32" fmla="*/ 454 w 528"/>
                <a:gd name="T33" fmla="*/ 206 h 362"/>
                <a:gd name="T34" fmla="*/ 480 w 528"/>
                <a:gd name="T35" fmla="*/ 198 h 362"/>
                <a:gd name="T36" fmla="*/ 506 w 528"/>
                <a:gd name="T37" fmla="*/ 180 h 362"/>
                <a:gd name="T38" fmla="*/ 528 w 528"/>
                <a:gd name="T39" fmla="*/ 180 h 362"/>
                <a:gd name="T40" fmla="*/ 514 w 528"/>
                <a:gd name="T41" fmla="*/ 206 h 362"/>
                <a:gd name="T42" fmla="*/ 522 w 528"/>
                <a:gd name="T43" fmla="*/ 232 h 362"/>
                <a:gd name="T44" fmla="*/ 500 w 528"/>
                <a:gd name="T45" fmla="*/ 250 h 362"/>
                <a:gd name="T46" fmla="*/ 468 w 528"/>
                <a:gd name="T47" fmla="*/ 258 h 362"/>
                <a:gd name="T48" fmla="*/ 440 w 528"/>
                <a:gd name="T49" fmla="*/ 276 h 362"/>
                <a:gd name="T50" fmla="*/ 400 w 528"/>
                <a:gd name="T51" fmla="*/ 276 h 362"/>
                <a:gd name="T52" fmla="*/ 372 w 528"/>
                <a:gd name="T53" fmla="*/ 302 h 362"/>
                <a:gd name="T54" fmla="*/ 344 w 528"/>
                <a:gd name="T55" fmla="*/ 328 h 362"/>
                <a:gd name="T56" fmla="*/ 316 w 528"/>
                <a:gd name="T57" fmla="*/ 354 h 362"/>
                <a:gd name="T58" fmla="*/ 304 w 528"/>
                <a:gd name="T59" fmla="*/ 354 h 362"/>
                <a:gd name="T60" fmla="*/ 292 w 528"/>
                <a:gd name="T61" fmla="*/ 346 h 362"/>
                <a:gd name="T62" fmla="*/ 270 w 528"/>
                <a:gd name="T63" fmla="*/ 336 h 362"/>
                <a:gd name="T64" fmla="*/ 244 w 528"/>
                <a:gd name="T65" fmla="*/ 328 h 362"/>
                <a:gd name="T66" fmla="*/ 222 w 528"/>
                <a:gd name="T67" fmla="*/ 312 h 362"/>
                <a:gd name="T68" fmla="*/ 230 w 528"/>
                <a:gd name="T69" fmla="*/ 276 h 362"/>
                <a:gd name="T70" fmla="*/ 208 w 528"/>
                <a:gd name="T71" fmla="*/ 250 h 362"/>
                <a:gd name="T72" fmla="*/ 202 w 528"/>
                <a:gd name="T73" fmla="*/ 216 h 362"/>
                <a:gd name="T74" fmla="*/ 168 w 528"/>
                <a:gd name="T75" fmla="*/ 206 h 362"/>
                <a:gd name="T76" fmla="*/ 140 w 528"/>
                <a:gd name="T77" fmla="*/ 216 h 362"/>
                <a:gd name="T78" fmla="*/ 114 w 528"/>
                <a:gd name="T79" fmla="*/ 190 h 362"/>
                <a:gd name="T80" fmla="*/ 88 w 528"/>
                <a:gd name="T81" fmla="*/ 190 h 362"/>
                <a:gd name="T82" fmla="*/ 62 w 528"/>
                <a:gd name="T83" fmla="*/ 180 h 362"/>
                <a:gd name="T84" fmla="*/ 34 w 528"/>
                <a:gd name="T85" fmla="*/ 198 h 362"/>
                <a:gd name="T86" fmla="*/ 6 w 528"/>
                <a:gd name="T87" fmla="*/ 190 h 362"/>
                <a:gd name="T88" fmla="*/ 6 w 528"/>
                <a:gd name="T89" fmla="*/ 190 h 362"/>
                <a:gd name="T90" fmla="*/ 34 w 528"/>
                <a:gd name="T91" fmla="*/ 162 h 362"/>
                <a:gd name="T92" fmla="*/ 62 w 528"/>
                <a:gd name="T93" fmla="*/ 144 h 362"/>
                <a:gd name="T94" fmla="*/ 62 w 528"/>
                <a:gd name="T95" fmla="*/ 108 h 362"/>
                <a:gd name="T96" fmla="*/ 82 w 528"/>
                <a:gd name="T97" fmla="*/ 84 h 362"/>
                <a:gd name="T98" fmla="*/ 102 w 528"/>
                <a:gd name="T99" fmla="*/ 48 h 362"/>
                <a:gd name="T100" fmla="*/ 128 w 528"/>
                <a:gd name="T101" fmla="*/ 30 h 362"/>
                <a:gd name="T102" fmla="*/ 122 w 528"/>
                <a:gd name="T103" fmla="*/ 3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28" h="362">
                  <a:moveTo>
                    <a:pt x="122" y="32"/>
                  </a:moveTo>
                  <a:lnTo>
                    <a:pt x="136" y="24"/>
                  </a:lnTo>
                  <a:lnTo>
                    <a:pt x="148" y="16"/>
                  </a:lnTo>
                  <a:lnTo>
                    <a:pt x="162" y="0"/>
                  </a:lnTo>
                  <a:lnTo>
                    <a:pt x="176" y="0"/>
                  </a:lnTo>
                  <a:lnTo>
                    <a:pt x="190" y="4"/>
                  </a:lnTo>
                  <a:lnTo>
                    <a:pt x="204" y="4"/>
                  </a:lnTo>
                  <a:lnTo>
                    <a:pt x="216" y="0"/>
                  </a:lnTo>
                  <a:lnTo>
                    <a:pt x="230" y="0"/>
                  </a:lnTo>
                  <a:lnTo>
                    <a:pt x="230" y="16"/>
                  </a:lnTo>
                  <a:lnTo>
                    <a:pt x="238" y="32"/>
                  </a:lnTo>
                  <a:lnTo>
                    <a:pt x="250" y="24"/>
                  </a:lnTo>
                  <a:lnTo>
                    <a:pt x="264" y="32"/>
                  </a:lnTo>
                  <a:lnTo>
                    <a:pt x="278" y="42"/>
                  </a:lnTo>
                  <a:lnTo>
                    <a:pt x="292" y="24"/>
                  </a:lnTo>
                  <a:lnTo>
                    <a:pt x="304" y="24"/>
                  </a:lnTo>
                  <a:lnTo>
                    <a:pt x="316" y="24"/>
                  </a:lnTo>
                  <a:lnTo>
                    <a:pt x="330" y="16"/>
                  </a:lnTo>
                  <a:lnTo>
                    <a:pt x="344" y="16"/>
                  </a:lnTo>
                  <a:lnTo>
                    <a:pt x="354" y="32"/>
                  </a:lnTo>
                  <a:lnTo>
                    <a:pt x="360" y="50"/>
                  </a:lnTo>
                  <a:lnTo>
                    <a:pt x="372" y="60"/>
                  </a:lnTo>
                  <a:lnTo>
                    <a:pt x="372" y="76"/>
                  </a:lnTo>
                  <a:lnTo>
                    <a:pt x="372" y="92"/>
                  </a:lnTo>
                  <a:lnTo>
                    <a:pt x="378" y="110"/>
                  </a:lnTo>
                  <a:lnTo>
                    <a:pt x="392" y="120"/>
                  </a:lnTo>
                  <a:lnTo>
                    <a:pt x="392" y="138"/>
                  </a:lnTo>
                  <a:lnTo>
                    <a:pt x="400" y="154"/>
                  </a:lnTo>
                  <a:lnTo>
                    <a:pt x="392" y="170"/>
                  </a:lnTo>
                  <a:lnTo>
                    <a:pt x="406" y="180"/>
                  </a:lnTo>
                  <a:lnTo>
                    <a:pt x="414" y="198"/>
                  </a:lnTo>
                  <a:lnTo>
                    <a:pt x="426" y="206"/>
                  </a:lnTo>
                  <a:lnTo>
                    <a:pt x="440" y="198"/>
                  </a:lnTo>
                  <a:lnTo>
                    <a:pt x="454" y="206"/>
                  </a:lnTo>
                  <a:lnTo>
                    <a:pt x="468" y="206"/>
                  </a:lnTo>
                  <a:lnTo>
                    <a:pt x="480" y="198"/>
                  </a:lnTo>
                  <a:lnTo>
                    <a:pt x="494" y="190"/>
                  </a:lnTo>
                  <a:lnTo>
                    <a:pt x="506" y="180"/>
                  </a:lnTo>
                  <a:lnTo>
                    <a:pt x="522" y="180"/>
                  </a:lnTo>
                  <a:lnTo>
                    <a:pt x="528" y="180"/>
                  </a:lnTo>
                  <a:lnTo>
                    <a:pt x="528" y="196"/>
                  </a:lnTo>
                  <a:lnTo>
                    <a:pt x="514" y="206"/>
                  </a:lnTo>
                  <a:lnTo>
                    <a:pt x="514" y="222"/>
                  </a:lnTo>
                  <a:lnTo>
                    <a:pt x="522" y="232"/>
                  </a:lnTo>
                  <a:lnTo>
                    <a:pt x="514" y="250"/>
                  </a:lnTo>
                  <a:lnTo>
                    <a:pt x="500" y="250"/>
                  </a:lnTo>
                  <a:lnTo>
                    <a:pt x="480" y="250"/>
                  </a:lnTo>
                  <a:lnTo>
                    <a:pt x="468" y="258"/>
                  </a:lnTo>
                  <a:lnTo>
                    <a:pt x="462" y="276"/>
                  </a:lnTo>
                  <a:lnTo>
                    <a:pt x="440" y="276"/>
                  </a:lnTo>
                  <a:lnTo>
                    <a:pt x="420" y="276"/>
                  </a:lnTo>
                  <a:lnTo>
                    <a:pt x="400" y="276"/>
                  </a:lnTo>
                  <a:lnTo>
                    <a:pt x="386" y="292"/>
                  </a:lnTo>
                  <a:lnTo>
                    <a:pt x="372" y="302"/>
                  </a:lnTo>
                  <a:lnTo>
                    <a:pt x="352" y="312"/>
                  </a:lnTo>
                  <a:lnTo>
                    <a:pt x="344" y="328"/>
                  </a:lnTo>
                  <a:lnTo>
                    <a:pt x="330" y="336"/>
                  </a:lnTo>
                  <a:lnTo>
                    <a:pt x="316" y="354"/>
                  </a:lnTo>
                  <a:lnTo>
                    <a:pt x="304" y="362"/>
                  </a:lnTo>
                  <a:lnTo>
                    <a:pt x="304" y="354"/>
                  </a:lnTo>
                  <a:lnTo>
                    <a:pt x="298" y="348"/>
                  </a:lnTo>
                  <a:lnTo>
                    <a:pt x="292" y="346"/>
                  </a:lnTo>
                  <a:lnTo>
                    <a:pt x="278" y="354"/>
                  </a:lnTo>
                  <a:lnTo>
                    <a:pt x="270" y="336"/>
                  </a:lnTo>
                  <a:lnTo>
                    <a:pt x="258" y="328"/>
                  </a:lnTo>
                  <a:lnTo>
                    <a:pt x="244" y="328"/>
                  </a:lnTo>
                  <a:lnTo>
                    <a:pt x="230" y="328"/>
                  </a:lnTo>
                  <a:lnTo>
                    <a:pt x="222" y="312"/>
                  </a:lnTo>
                  <a:lnTo>
                    <a:pt x="230" y="292"/>
                  </a:lnTo>
                  <a:lnTo>
                    <a:pt x="230" y="276"/>
                  </a:lnTo>
                  <a:lnTo>
                    <a:pt x="216" y="266"/>
                  </a:lnTo>
                  <a:lnTo>
                    <a:pt x="208" y="250"/>
                  </a:lnTo>
                  <a:lnTo>
                    <a:pt x="216" y="232"/>
                  </a:lnTo>
                  <a:lnTo>
                    <a:pt x="202" y="216"/>
                  </a:lnTo>
                  <a:lnTo>
                    <a:pt x="182" y="206"/>
                  </a:lnTo>
                  <a:lnTo>
                    <a:pt x="168" y="206"/>
                  </a:lnTo>
                  <a:lnTo>
                    <a:pt x="156" y="216"/>
                  </a:lnTo>
                  <a:lnTo>
                    <a:pt x="140" y="216"/>
                  </a:lnTo>
                  <a:lnTo>
                    <a:pt x="128" y="198"/>
                  </a:lnTo>
                  <a:lnTo>
                    <a:pt x="114" y="190"/>
                  </a:lnTo>
                  <a:lnTo>
                    <a:pt x="102" y="190"/>
                  </a:lnTo>
                  <a:lnTo>
                    <a:pt x="88" y="190"/>
                  </a:lnTo>
                  <a:lnTo>
                    <a:pt x="76" y="180"/>
                  </a:lnTo>
                  <a:lnTo>
                    <a:pt x="62" y="180"/>
                  </a:lnTo>
                  <a:lnTo>
                    <a:pt x="46" y="190"/>
                  </a:lnTo>
                  <a:lnTo>
                    <a:pt x="34" y="198"/>
                  </a:lnTo>
                  <a:lnTo>
                    <a:pt x="20" y="198"/>
                  </a:lnTo>
                  <a:lnTo>
                    <a:pt x="6" y="190"/>
                  </a:lnTo>
                  <a:lnTo>
                    <a:pt x="0" y="190"/>
                  </a:lnTo>
                  <a:lnTo>
                    <a:pt x="6" y="190"/>
                  </a:lnTo>
                  <a:lnTo>
                    <a:pt x="20" y="170"/>
                  </a:lnTo>
                  <a:lnTo>
                    <a:pt x="34" y="162"/>
                  </a:lnTo>
                  <a:lnTo>
                    <a:pt x="46" y="152"/>
                  </a:lnTo>
                  <a:lnTo>
                    <a:pt x="62" y="144"/>
                  </a:lnTo>
                  <a:lnTo>
                    <a:pt x="62" y="128"/>
                  </a:lnTo>
                  <a:lnTo>
                    <a:pt x="62" y="108"/>
                  </a:lnTo>
                  <a:lnTo>
                    <a:pt x="72" y="102"/>
                  </a:lnTo>
                  <a:lnTo>
                    <a:pt x="82" y="84"/>
                  </a:lnTo>
                  <a:lnTo>
                    <a:pt x="86" y="66"/>
                  </a:lnTo>
                  <a:lnTo>
                    <a:pt x="102" y="48"/>
                  </a:lnTo>
                  <a:lnTo>
                    <a:pt x="114" y="40"/>
                  </a:lnTo>
                  <a:lnTo>
                    <a:pt x="128" y="30"/>
                  </a:lnTo>
                  <a:lnTo>
                    <a:pt x="128" y="28"/>
                  </a:lnTo>
                  <a:lnTo>
                    <a:pt x="122" y="32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76"/>
            <p:cNvSpPr>
              <a:spLocks/>
            </p:cNvSpPr>
            <p:nvPr/>
          </p:nvSpPr>
          <p:spPr bwMode="auto">
            <a:xfrm>
              <a:off x="2399765" y="4438275"/>
              <a:ext cx="594938" cy="418550"/>
            </a:xfrm>
            <a:custGeom>
              <a:avLst/>
              <a:gdLst>
                <a:gd name="T0" fmla="*/ 94 w 398"/>
                <a:gd name="T1" fmla="*/ 10 h 280"/>
                <a:gd name="T2" fmla="*/ 66 w 398"/>
                <a:gd name="T3" fmla="*/ 28 h 280"/>
                <a:gd name="T4" fmla="*/ 58 w 398"/>
                <a:gd name="T5" fmla="*/ 62 h 280"/>
                <a:gd name="T6" fmla="*/ 40 w 398"/>
                <a:gd name="T7" fmla="*/ 80 h 280"/>
                <a:gd name="T8" fmla="*/ 28 w 398"/>
                <a:gd name="T9" fmla="*/ 106 h 280"/>
                <a:gd name="T10" fmla="*/ 6 w 398"/>
                <a:gd name="T11" fmla="*/ 126 h 280"/>
                <a:gd name="T12" fmla="*/ 0 w 398"/>
                <a:gd name="T13" fmla="*/ 158 h 280"/>
                <a:gd name="T14" fmla="*/ 6 w 398"/>
                <a:gd name="T15" fmla="*/ 192 h 280"/>
                <a:gd name="T16" fmla="*/ 34 w 398"/>
                <a:gd name="T17" fmla="*/ 184 h 280"/>
                <a:gd name="T18" fmla="*/ 60 w 398"/>
                <a:gd name="T19" fmla="*/ 208 h 280"/>
                <a:gd name="T20" fmla="*/ 60 w 398"/>
                <a:gd name="T21" fmla="*/ 244 h 280"/>
                <a:gd name="T22" fmla="*/ 66 w 398"/>
                <a:gd name="T23" fmla="*/ 252 h 280"/>
                <a:gd name="T24" fmla="*/ 94 w 398"/>
                <a:gd name="T25" fmla="*/ 262 h 280"/>
                <a:gd name="T26" fmla="*/ 120 w 398"/>
                <a:gd name="T27" fmla="*/ 270 h 280"/>
                <a:gd name="T28" fmla="*/ 150 w 398"/>
                <a:gd name="T29" fmla="*/ 262 h 280"/>
                <a:gd name="T30" fmla="*/ 176 w 398"/>
                <a:gd name="T31" fmla="*/ 270 h 280"/>
                <a:gd name="T32" fmla="*/ 196 w 398"/>
                <a:gd name="T33" fmla="*/ 280 h 280"/>
                <a:gd name="T34" fmla="*/ 222 w 398"/>
                <a:gd name="T35" fmla="*/ 270 h 280"/>
                <a:gd name="T36" fmla="*/ 236 w 398"/>
                <a:gd name="T37" fmla="*/ 252 h 280"/>
                <a:gd name="T38" fmla="*/ 262 w 398"/>
                <a:gd name="T39" fmla="*/ 236 h 280"/>
                <a:gd name="T40" fmla="*/ 296 w 398"/>
                <a:gd name="T41" fmla="*/ 252 h 280"/>
                <a:gd name="T42" fmla="*/ 324 w 398"/>
                <a:gd name="T43" fmla="*/ 244 h 280"/>
                <a:gd name="T44" fmla="*/ 352 w 398"/>
                <a:gd name="T45" fmla="*/ 244 h 280"/>
                <a:gd name="T46" fmla="*/ 364 w 398"/>
                <a:gd name="T47" fmla="*/ 234 h 280"/>
                <a:gd name="T48" fmla="*/ 364 w 398"/>
                <a:gd name="T49" fmla="*/ 200 h 280"/>
                <a:gd name="T50" fmla="*/ 392 w 398"/>
                <a:gd name="T51" fmla="*/ 190 h 280"/>
                <a:gd name="T52" fmla="*/ 384 w 398"/>
                <a:gd name="T53" fmla="*/ 166 h 280"/>
                <a:gd name="T54" fmla="*/ 364 w 398"/>
                <a:gd name="T55" fmla="*/ 156 h 280"/>
                <a:gd name="T56" fmla="*/ 338 w 398"/>
                <a:gd name="T57" fmla="*/ 150 h 280"/>
                <a:gd name="T58" fmla="*/ 318 w 398"/>
                <a:gd name="T59" fmla="*/ 130 h 280"/>
                <a:gd name="T60" fmla="*/ 324 w 398"/>
                <a:gd name="T61" fmla="*/ 96 h 280"/>
                <a:gd name="T62" fmla="*/ 302 w 398"/>
                <a:gd name="T63" fmla="*/ 70 h 280"/>
                <a:gd name="T64" fmla="*/ 296 w 398"/>
                <a:gd name="T65" fmla="*/ 36 h 280"/>
                <a:gd name="T66" fmla="*/ 262 w 398"/>
                <a:gd name="T67" fmla="*/ 26 h 280"/>
                <a:gd name="T68" fmla="*/ 236 w 398"/>
                <a:gd name="T69" fmla="*/ 36 h 280"/>
                <a:gd name="T70" fmla="*/ 208 w 398"/>
                <a:gd name="T71" fmla="*/ 10 h 280"/>
                <a:gd name="T72" fmla="*/ 182 w 398"/>
                <a:gd name="T73" fmla="*/ 10 h 280"/>
                <a:gd name="T74" fmla="*/ 156 w 398"/>
                <a:gd name="T75" fmla="*/ 0 h 280"/>
                <a:gd name="T76" fmla="*/ 128 w 398"/>
                <a:gd name="T77" fmla="*/ 18 h 280"/>
                <a:gd name="T78" fmla="*/ 102 w 398"/>
                <a:gd name="T79" fmla="*/ 10 h 280"/>
                <a:gd name="T80" fmla="*/ 102 w 398"/>
                <a:gd name="T81" fmla="*/ 1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8" h="280">
                  <a:moveTo>
                    <a:pt x="102" y="10"/>
                  </a:moveTo>
                  <a:lnTo>
                    <a:pt x="94" y="10"/>
                  </a:lnTo>
                  <a:lnTo>
                    <a:pt x="80" y="20"/>
                  </a:lnTo>
                  <a:lnTo>
                    <a:pt x="66" y="28"/>
                  </a:lnTo>
                  <a:lnTo>
                    <a:pt x="58" y="46"/>
                  </a:lnTo>
                  <a:lnTo>
                    <a:pt x="58" y="62"/>
                  </a:lnTo>
                  <a:lnTo>
                    <a:pt x="46" y="62"/>
                  </a:lnTo>
                  <a:lnTo>
                    <a:pt x="40" y="80"/>
                  </a:lnTo>
                  <a:lnTo>
                    <a:pt x="40" y="96"/>
                  </a:lnTo>
                  <a:lnTo>
                    <a:pt x="28" y="106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0" y="142"/>
                  </a:lnTo>
                  <a:lnTo>
                    <a:pt x="0" y="158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20" y="192"/>
                  </a:lnTo>
                  <a:lnTo>
                    <a:pt x="34" y="184"/>
                  </a:lnTo>
                  <a:lnTo>
                    <a:pt x="48" y="202"/>
                  </a:lnTo>
                  <a:lnTo>
                    <a:pt x="60" y="208"/>
                  </a:lnTo>
                  <a:lnTo>
                    <a:pt x="60" y="226"/>
                  </a:lnTo>
                  <a:lnTo>
                    <a:pt x="60" y="244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80" y="252"/>
                  </a:lnTo>
                  <a:lnTo>
                    <a:pt x="94" y="262"/>
                  </a:lnTo>
                  <a:lnTo>
                    <a:pt x="108" y="270"/>
                  </a:lnTo>
                  <a:lnTo>
                    <a:pt x="120" y="270"/>
                  </a:lnTo>
                  <a:lnTo>
                    <a:pt x="134" y="262"/>
                  </a:lnTo>
                  <a:lnTo>
                    <a:pt x="150" y="262"/>
                  </a:lnTo>
                  <a:lnTo>
                    <a:pt x="162" y="262"/>
                  </a:lnTo>
                  <a:lnTo>
                    <a:pt x="176" y="270"/>
                  </a:lnTo>
                  <a:lnTo>
                    <a:pt x="182" y="270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22" y="270"/>
                  </a:lnTo>
                  <a:lnTo>
                    <a:pt x="222" y="252"/>
                  </a:lnTo>
                  <a:lnTo>
                    <a:pt x="236" y="252"/>
                  </a:lnTo>
                  <a:lnTo>
                    <a:pt x="250" y="244"/>
                  </a:lnTo>
                  <a:lnTo>
                    <a:pt x="262" y="236"/>
                  </a:lnTo>
                  <a:lnTo>
                    <a:pt x="278" y="244"/>
                  </a:lnTo>
                  <a:lnTo>
                    <a:pt x="296" y="252"/>
                  </a:lnTo>
                  <a:lnTo>
                    <a:pt x="318" y="252"/>
                  </a:lnTo>
                  <a:lnTo>
                    <a:pt x="324" y="244"/>
                  </a:lnTo>
                  <a:lnTo>
                    <a:pt x="338" y="236"/>
                  </a:lnTo>
                  <a:lnTo>
                    <a:pt x="352" y="244"/>
                  </a:lnTo>
                  <a:lnTo>
                    <a:pt x="352" y="244"/>
                  </a:lnTo>
                  <a:lnTo>
                    <a:pt x="364" y="234"/>
                  </a:lnTo>
                  <a:lnTo>
                    <a:pt x="372" y="218"/>
                  </a:lnTo>
                  <a:lnTo>
                    <a:pt x="364" y="200"/>
                  </a:lnTo>
                  <a:lnTo>
                    <a:pt x="378" y="190"/>
                  </a:lnTo>
                  <a:lnTo>
                    <a:pt x="392" y="190"/>
                  </a:lnTo>
                  <a:lnTo>
                    <a:pt x="398" y="174"/>
                  </a:lnTo>
                  <a:lnTo>
                    <a:pt x="384" y="166"/>
                  </a:lnTo>
                  <a:lnTo>
                    <a:pt x="372" y="174"/>
                  </a:lnTo>
                  <a:lnTo>
                    <a:pt x="364" y="156"/>
                  </a:lnTo>
                  <a:lnTo>
                    <a:pt x="352" y="150"/>
                  </a:lnTo>
                  <a:lnTo>
                    <a:pt x="338" y="150"/>
                  </a:lnTo>
                  <a:lnTo>
                    <a:pt x="324" y="150"/>
                  </a:lnTo>
                  <a:lnTo>
                    <a:pt x="318" y="130"/>
                  </a:lnTo>
                  <a:lnTo>
                    <a:pt x="324" y="114"/>
                  </a:lnTo>
                  <a:lnTo>
                    <a:pt x="324" y="96"/>
                  </a:lnTo>
                  <a:lnTo>
                    <a:pt x="310" y="88"/>
                  </a:lnTo>
                  <a:lnTo>
                    <a:pt x="302" y="70"/>
                  </a:lnTo>
                  <a:lnTo>
                    <a:pt x="310" y="52"/>
                  </a:lnTo>
                  <a:lnTo>
                    <a:pt x="296" y="36"/>
                  </a:lnTo>
                  <a:lnTo>
                    <a:pt x="278" y="26"/>
                  </a:lnTo>
                  <a:lnTo>
                    <a:pt x="262" y="26"/>
                  </a:lnTo>
                  <a:lnTo>
                    <a:pt x="250" y="36"/>
                  </a:lnTo>
                  <a:lnTo>
                    <a:pt x="236" y="36"/>
                  </a:lnTo>
                  <a:lnTo>
                    <a:pt x="222" y="18"/>
                  </a:lnTo>
                  <a:lnTo>
                    <a:pt x="208" y="10"/>
                  </a:lnTo>
                  <a:lnTo>
                    <a:pt x="196" y="10"/>
                  </a:lnTo>
                  <a:lnTo>
                    <a:pt x="182" y="10"/>
                  </a:lnTo>
                  <a:lnTo>
                    <a:pt x="170" y="0"/>
                  </a:lnTo>
                  <a:lnTo>
                    <a:pt x="156" y="0"/>
                  </a:lnTo>
                  <a:lnTo>
                    <a:pt x="142" y="10"/>
                  </a:lnTo>
                  <a:lnTo>
                    <a:pt x="128" y="18"/>
                  </a:lnTo>
                  <a:lnTo>
                    <a:pt x="114" y="18"/>
                  </a:lnTo>
                  <a:lnTo>
                    <a:pt x="102" y="10"/>
                  </a:lnTo>
                  <a:lnTo>
                    <a:pt x="94" y="10"/>
                  </a:lnTo>
                  <a:lnTo>
                    <a:pt x="102" y="1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77"/>
            <p:cNvSpPr>
              <a:spLocks/>
            </p:cNvSpPr>
            <p:nvPr/>
          </p:nvSpPr>
          <p:spPr bwMode="auto">
            <a:xfrm>
              <a:off x="2399765" y="4438275"/>
              <a:ext cx="594938" cy="418550"/>
            </a:xfrm>
            <a:custGeom>
              <a:avLst/>
              <a:gdLst>
                <a:gd name="T0" fmla="*/ 94 w 398"/>
                <a:gd name="T1" fmla="*/ 10 h 280"/>
                <a:gd name="T2" fmla="*/ 66 w 398"/>
                <a:gd name="T3" fmla="*/ 28 h 280"/>
                <a:gd name="T4" fmla="*/ 58 w 398"/>
                <a:gd name="T5" fmla="*/ 62 h 280"/>
                <a:gd name="T6" fmla="*/ 40 w 398"/>
                <a:gd name="T7" fmla="*/ 80 h 280"/>
                <a:gd name="T8" fmla="*/ 28 w 398"/>
                <a:gd name="T9" fmla="*/ 106 h 280"/>
                <a:gd name="T10" fmla="*/ 6 w 398"/>
                <a:gd name="T11" fmla="*/ 126 h 280"/>
                <a:gd name="T12" fmla="*/ 0 w 398"/>
                <a:gd name="T13" fmla="*/ 158 h 280"/>
                <a:gd name="T14" fmla="*/ 6 w 398"/>
                <a:gd name="T15" fmla="*/ 192 h 280"/>
                <a:gd name="T16" fmla="*/ 34 w 398"/>
                <a:gd name="T17" fmla="*/ 184 h 280"/>
                <a:gd name="T18" fmla="*/ 60 w 398"/>
                <a:gd name="T19" fmla="*/ 208 h 280"/>
                <a:gd name="T20" fmla="*/ 60 w 398"/>
                <a:gd name="T21" fmla="*/ 244 h 280"/>
                <a:gd name="T22" fmla="*/ 66 w 398"/>
                <a:gd name="T23" fmla="*/ 252 h 280"/>
                <a:gd name="T24" fmla="*/ 94 w 398"/>
                <a:gd name="T25" fmla="*/ 262 h 280"/>
                <a:gd name="T26" fmla="*/ 120 w 398"/>
                <a:gd name="T27" fmla="*/ 270 h 280"/>
                <a:gd name="T28" fmla="*/ 150 w 398"/>
                <a:gd name="T29" fmla="*/ 262 h 280"/>
                <a:gd name="T30" fmla="*/ 176 w 398"/>
                <a:gd name="T31" fmla="*/ 270 h 280"/>
                <a:gd name="T32" fmla="*/ 196 w 398"/>
                <a:gd name="T33" fmla="*/ 280 h 280"/>
                <a:gd name="T34" fmla="*/ 222 w 398"/>
                <a:gd name="T35" fmla="*/ 270 h 280"/>
                <a:gd name="T36" fmla="*/ 236 w 398"/>
                <a:gd name="T37" fmla="*/ 252 h 280"/>
                <a:gd name="T38" fmla="*/ 262 w 398"/>
                <a:gd name="T39" fmla="*/ 236 h 280"/>
                <a:gd name="T40" fmla="*/ 296 w 398"/>
                <a:gd name="T41" fmla="*/ 252 h 280"/>
                <a:gd name="T42" fmla="*/ 324 w 398"/>
                <a:gd name="T43" fmla="*/ 244 h 280"/>
                <a:gd name="T44" fmla="*/ 352 w 398"/>
                <a:gd name="T45" fmla="*/ 244 h 280"/>
                <a:gd name="T46" fmla="*/ 364 w 398"/>
                <a:gd name="T47" fmla="*/ 234 h 280"/>
                <a:gd name="T48" fmla="*/ 364 w 398"/>
                <a:gd name="T49" fmla="*/ 200 h 280"/>
                <a:gd name="T50" fmla="*/ 392 w 398"/>
                <a:gd name="T51" fmla="*/ 190 h 280"/>
                <a:gd name="T52" fmla="*/ 384 w 398"/>
                <a:gd name="T53" fmla="*/ 166 h 280"/>
                <a:gd name="T54" fmla="*/ 364 w 398"/>
                <a:gd name="T55" fmla="*/ 156 h 280"/>
                <a:gd name="T56" fmla="*/ 338 w 398"/>
                <a:gd name="T57" fmla="*/ 150 h 280"/>
                <a:gd name="T58" fmla="*/ 318 w 398"/>
                <a:gd name="T59" fmla="*/ 130 h 280"/>
                <a:gd name="T60" fmla="*/ 324 w 398"/>
                <a:gd name="T61" fmla="*/ 96 h 280"/>
                <a:gd name="T62" fmla="*/ 302 w 398"/>
                <a:gd name="T63" fmla="*/ 70 h 280"/>
                <a:gd name="T64" fmla="*/ 296 w 398"/>
                <a:gd name="T65" fmla="*/ 36 h 280"/>
                <a:gd name="T66" fmla="*/ 262 w 398"/>
                <a:gd name="T67" fmla="*/ 26 h 280"/>
                <a:gd name="T68" fmla="*/ 236 w 398"/>
                <a:gd name="T69" fmla="*/ 36 h 280"/>
                <a:gd name="T70" fmla="*/ 208 w 398"/>
                <a:gd name="T71" fmla="*/ 10 h 280"/>
                <a:gd name="T72" fmla="*/ 182 w 398"/>
                <a:gd name="T73" fmla="*/ 10 h 280"/>
                <a:gd name="T74" fmla="*/ 156 w 398"/>
                <a:gd name="T75" fmla="*/ 0 h 280"/>
                <a:gd name="T76" fmla="*/ 128 w 398"/>
                <a:gd name="T77" fmla="*/ 18 h 280"/>
                <a:gd name="T78" fmla="*/ 102 w 398"/>
                <a:gd name="T79" fmla="*/ 10 h 280"/>
                <a:gd name="T80" fmla="*/ 102 w 398"/>
                <a:gd name="T81" fmla="*/ 1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8" h="280">
                  <a:moveTo>
                    <a:pt x="102" y="10"/>
                  </a:moveTo>
                  <a:lnTo>
                    <a:pt x="94" y="10"/>
                  </a:lnTo>
                  <a:lnTo>
                    <a:pt x="80" y="20"/>
                  </a:lnTo>
                  <a:lnTo>
                    <a:pt x="66" y="28"/>
                  </a:lnTo>
                  <a:lnTo>
                    <a:pt x="58" y="46"/>
                  </a:lnTo>
                  <a:lnTo>
                    <a:pt x="58" y="62"/>
                  </a:lnTo>
                  <a:lnTo>
                    <a:pt x="46" y="62"/>
                  </a:lnTo>
                  <a:lnTo>
                    <a:pt x="40" y="80"/>
                  </a:lnTo>
                  <a:lnTo>
                    <a:pt x="40" y="96"/>
                  </a:lnTo>
                  <a:lnTo>
                    <a:pt x="28" y="106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0" y="142"/>
                  </a:lnTo>
                  <a:lnTo>
                    <a:pt x="0" y="158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20" y="192"/>
                  </a:lnTo>
                  <a:lnTo>
                    <a:pt x="34" y="184"/>
                  </a:lnTo>
                  <a:lnTo>
                    <a:pt x="48" y="202"/>
                  </a:lnTo>
                  <a:lnTo>
                    <a:pt x="60" y="208"/>
                  </a:lnTo>
                  <a:lnTo>
                    <a:pt x="60" y="226"/>
                  </a:lnTo>
                  <a:lnTo>
                    <a:pt x="60" y="244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80" y="252"/>
                  </a:lnTo>
                  <a:lnTo>
                    <a:pt x="94" y="262"/>
                  </a:lnTo>
                  <a:lnTo>
                    <a:pt x="108" y="270"/>
                  </a:lnTo>
                  <a:lnTo>
                    <a:pt x="120" y="270"/>
                  </a:lnTo>
                  <a:lnTo>
                    <a:pt x="134" y="262"/>
                  </a:lnTo>
                  <a:lnTo>
                    <a:pt x="150" y="262"/>
                  </a:lnTo>
                  <a:lnTo>
                    <a:pt x="162" y="262"/>
                  </a:lnTo>
                  <a:lnTo>
                    <a:pt x="176" y="270"/>
                  </a:lnTo>
                  <a:lnTo>
                    <a:pt x="182" y="270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22" y="270"/>
                  </a:lnTo>
                  <a:lnTo>
                    <a:pt x="222" y="252"/>
                  </a:lnTo>
                  <a:lnTo>
                    <a:pt x="236" y="252"/>
                  </a:lnTo>
                  <a:lnTo>
                    <a:pt x="250" y="244"/>
                  </a:lnTo>
                  <a:lnTo>
                    <a:pt x="262" y="236"/>
                  </a:lnTo>
                  <a:lnTo>
                    <a:pt x="278" y="244"/>
                  </a:lnTo>
                  <a:lnTo>
                    <a:pt x="296" y="252"/>
                  </a:lnTo>
                  <a:lnTo>
                    <a:pt x="318" y="252"/>
                  </a:lnTo>
                  <a:lnTo>
                    <a:pt x="324" y="244"/>
                  </a:lnTo>
                  <a:lnTo>
                    <a:pt x="338" y="236"/>
                  </a:lnTo>
                  <a:lnTo>
                    <a:pt x="352" y="244"/>
                  </a:lnTo>
                  <a:lnTo>
                    <a:pt x="352" y="244"/>
                  </a:lnTo>
                  <a:lnTo>
                    <a:pt x="364" y="234"/>
                  </a:lnTo>
                  <a:lnTo>
                    <a:pt x="372" y="218"/>
                  </a:lnTo>
                  <a:lnTo>
                    <a:pt x="364" y="200"/>
                  </a:lnTo>
                  <a:lnTo>
                    <a:pt x="378" y="190"/>
                  </a:lnTo>
                  <a:lnTo>
                    <a:pt x="392" y="190"/>
                  </a:lnTo>
                  <a:lnTo>
                    <a:pt x="398" y="174"/>
                  </a:lnTo>
                  <a:lnTo>
                    <a:pt x="384" y="166"/>
                  </a:lnTo>
                  <a:lnTo>
                    <a:pt x="372" y="174"/>
                  </a:lnTo>
                  <a:lnTo>
                    <a:pt x="364" y="156"/>
                  </a:lnTo>
                  <a:lnTo>
                    <a:pt x="352" y="150"/>
                  </a:lnTo>
                  <a:lnTo>
                    <a:pt x="338" y="150"/>
                  </a:lnTo>
                  <a:lnTo>
                    <a:pt x="324" y="150"/>
                  </a:lnTo>
                  <a:lnTo>
                    <a:pt x="318" y="130"/>
                  </a:lnTo>
                  <a:lnTo>
                    <a:pt x="324" y="114"/>
                  </a:lnTo>
                  <a:lnTo>
                    <a:pt x="324" y="96"/>
                  </a:lnTo>
                  <a:lnTo>
                    <a:pt x="310" y="88"/>
                  </a:lnTo>
                  <a:lnTo>
                    <a:pt x="302" y="70"/>
                  </a:lnTo>
                  <a:lnTo>
                    <a:pt x="310" y="52"/>
                  </a:lnTo>
                  <a:lnTo>
                    <a:pt x="296" y="36"/>
                  </a:lnTo>
                  <a:lnTo>
                    <a:pt x="278" y="26"/>
                  </a:lnTo>
                  <a:lnTo>
                    <a:pt x="262" y="26"/>
                  </a:lnTo>
                  <a:lnTo>
                    <a:pt x="250" y="36"/>
                  </a:lnTo>
                  <a:lnTo>
                    <a:pt x="236" y="36"/>
                  </a:lnTo>
                  <a:lnTo>
                    <a:pt x="222" y="18"/>
                  </a:lnTo>
                  <a:lnTo>
                    <a:pt x="208" y="10"/>
                  </a:lnTo>
                  <a:lnTo>
                    <a:pt x="196" y="10"/>
                  </a:lnTo>
                  <a:lnTo>
                    <a:pt x="182" y="10"/>
                  </a:lnTo>
                  <a:lnTo>
                    <a:pt x="170" y="0"/>
                  </a:lnTo>
                  <a:lnTo>
                    <a:pt x="156" y="0"/>
                  </a:lnTo>
                  <a:lnTo>
                    <a:pt x="142" y="10"/>
                  </a:lnTo>
                  <a:lnTo>
                    <a:pt x="128" y="18"/>
                  </a:lnTo>
                  <a:lnTo>
                    <a:pt x="114" y="18"/>
                  </a:lnTo>
                  <a:lnTo>
                    <a:pt x="102" y="10"/>
                  </a:lnTo>
                  <a:lnTo>
                    <a:pt x="94" y="10"/>
                  </a:lnTo>
                  <a:lnTo>
                    <a:pt x="102" y="10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78"/>
            <p:cNvSpPr>
              <a:spLocks/>
            </p:cNvSpPr>
            <p:nvPr/>
          </p:nvSpPr>
          <p:spPr bwMode="auto">
            <a:xfrm>
              <a:off x="2471517" y="4791053"/>
              <a:ext cx="475353" cy="325871"/>
            </a:xfrm>
            <a:custGeom>
              <a:avLst/>
              <a:gdLst>
                <a:gd name="T0" fmla="*/ 6 w 318"/>
                <a:gd name="T1" fmla="*/ 18 h 218"/>
                <a:gd name="T2" fmla="*/ 20 w 318"/>
                <a:gd name="T3" fmla="*/ 18 h 218"/>
                <a:gd name="T4" fmla="*/ 34 w 318"/>
                <a:gd name="T5" fmla="*/ 18 h 218"/>
                <a:gd name="T6" fmla="*/ 46 w 318"/>
                <a:gd name="T7" fmla="*/ 26 h 218"/>
                <a:gd name="T8" fmla="*/ 60 w 318"/>
                <a:gd name="T9" fmla="*/ 36 h 218"/>
                <a:gd name="T10" fmla="*/ 74 w 318"/>
                <a:gd name="T11" fmla="*/ 36 h 218"/>
                <a:gd name="T12" fmla="*/ 88 w 318"/>
                <a:gd name="T13" fmla="*/ 26 h 218"/>
                <a:gd name="T14" fmla="*/ 102 w 318"/>
                <a:gd name="T15" fmla="*/ 26 h 218"/>
                <a:gd name="T16" fmla="*/ 116 w 318"/>
                <a:gd name="T17" fmla="*/ 26 h 218"/>
                <a:gd name="T18" fmla="*/ 128 w 318"/>
                <a:gd name="T19" fmla="*/ 36 h 218"/>
                <a:gd name="T20" fmla="*/ 134 w 318"/>
                <a:gd name="T21" fmla="*/ 36 h 218"/>
                <a:gd name="T22" fmla="*/ 148 w 318"/>
                <a:gd name="T23" fmla="*/ 42 h 218"/>
                <a:gd name="T24" fmla="*/ 160 w 318"/>
                <a:gd name="T25" fmla="*/ 42 h 218"/>
                <a:gd name="T26" fmla="*/ 176 w 318"/>
                <a:gd name="T27" fmla="*/ 36 h 218"/>
                <a:gd name="T28" fmla="*/ 176 w 318"/>
                <a:gd name="T29" fmla="*/ 18 h 218"/>
                <a:gd name="T30" fmla="*/ 188 w 318"/>
                <a:gd name="T31" fmla="*/ 18 h 218"/>
                <a:gd name="T32" fmla="*/ 202 w 318"/>
                <a:gd name="T33" fmla="*/ 10 h 218"/>
                <a:gd name="T34" fmla="*/ 216 w 318"/>
                <a:gd name="T35" fmla="*/ 0 h 218"/>
                <a:gd name="T36" fmla="*/ 228 w 318"/>
                <a:gd name="T37" fmla="*/ 10 h 218"/>
                <a:gd name="T38" fmla="*/ 250 w 318"/>
                <a:gd name="T39" fmla="*/ 18 h 218"/>
                <a:gd name="T40" fmla="*/ 270 w 318"/>
                <a:gd name="T41" fmla="*/ 18 h 218"/>
                <a:gd name="T42" fmla="*/ 278 w 318"/>
                <a:gd name="T43" fmla="*/ 10 h 218"/>
                <a:gd name="T44" fmla="*/ 290 w 318"/>
                <a:gd name="T45" fmla="*/ 0 h 218"/>
                <a:gd name="T46" fmla="*/ 306 w 318"/>
                <a:gd name="T47" fmla="*/ 10 h 218"/>
                <a:gd name="T48" fmla="*/ 312 w 318"/>
                <a:gd name="T49" fmla="*/ 28 h 218"/>
                <a:gd name="T50" fmla="*/ 318 w 318"/>
                <a:gd name="T51" fmla="*/ 44 h 218"/>
                <a:gd name="T52" fmla="*/ 312 w 318"/>
                <a:gd name="T53" fmla="*/ 62 h 218"/>
                <a:gd name="T54" fmla="*/ 318 w 318"/>
                <a:gd name="T55" fmla="*/ 78 h 218"/>
                <a:gd name="T56" fmla="*/ 318 w 318"/>
                <a:gd name="T57" fmla="*/ 98 h 218"/>
                <a:gd name="T58" fmla="*/ 312 w 318"/>
                <a:gd name="T59" fmla="*/ 112 h 218"/>
                <a:gd name="T60" fmla="*/ 306 w 318"/>
                <a:gd name="T61" fmla="*/ 130 h 218"/>
                <a:gd name="T62" fmla="*/ 306 w 318"/>
                <a:gd name="T63" fmla="*/ 148 h 218"/>
                <a:gd name="T64" fmla="*/ 290 w 318"/>
                <a:gd name="T65" fmla="*/ 172 h 218"/>
                <a:gd name="T66" fmla="*/ 278 w 318"/>
                <a:gd name="T67" fmla="*/ 180 h 218"/>
                <a:gd name="T68" fmla="*/ 256 w 318"/>
                <a:gd name="T69" fmla="*/ 200 h 218"/>
                <a:gd name="T70" fmla="*/ 256 w 318"/>
                <a:gd name="T71" fmla="*/ 200 h 218"/>
                <a:gd name="T72" fmla="*/ 236 w 318"/>
                <a:gd name="T73" fmla="*/ 218 h 218"/>
                <a:gd name="T74" fmla="*/ 222 w 318"/>
                <a:gd name="T75" fmla="*/ 218 h 218"/>
                <a:gd name="T76" fmla="*/ 210 w 318"/>
                <a:gd name="T77" fmla="*/ 206 h 218"/>
                <a:gd name="T78" fmla="*/ 222 w 318"/>
                <a:gd name="T79" fmla="*/ 200 h 218"/>
                <a:gd name="T80" fmla="*/ 236 w 318"/>
                <a:gd name="T81" fmla="*/ 180 h 218"/>
                <a:gd name="T82" fmla="*/ 244 w 318"/>
                <a:gd name="T83" fmla="*/ 164 h 218"/>
                <a:gd name="T84" fmla="*/ 228 w 318"/>
                <a:gd name="T85" fmla="*/ 154 h 218"/>
                <a:gd name="T86" fmla="*/ 216 w 318"/>
                <a:gd name="T87" fmla="*/ 164 h 218"/>
                <a:gd name="T88" fmla="*/ 204 w 318"/>
                <a:gd name="T89" fmla="*/ 154 h 218"/>
                <a:gd name="T90" fmla="*/ 188 w 318"/>
                <a:gd name="T91" fmla="*/ 138 h 218"/>
                <a:gd name="T92" fmla="*/ 176 w 318"/>
                <a:gd name="T93" fmla="*/ 130 h 218"/>
                <a:gd name="T94" fmla="*/ 160 w 318"/>
                <a:gd name="T95" fmla="*/ 120 h 218"/>
                <a:gd name="T96" fmla="*/ 150 w 318"/>
                <a:gd name="T97" fmla="*/ 112 h 218"/>
                <a:gd name="T98" fmla="*/ 128 w 318"/>
                <a:gd name="T99" fmla="*/ 104 h 218"/>
                <a:gd name="T100" fmla="*/ 116 w 318"/>
                <a:gd name="T101" fmla="*/ 104 h 218"/>
                <a:gd name="T102" fmla="*/ 102 w 318"/>
                <a:gd name="T103" fmla="*/ 98 h 218"/>
                <a:gd name="T104" fmla="*/ 88 w 318"/>
                <a:gd name="T105" fmla="*/ 88 h 218"/>
                <a:gd name="T106" fmla="*/ 74 w 318"/>
                <a:gd name="T107" fmla="*/ 78 h 218"/>
                <a:gd name="T108" fmla="*/ 52 w 318"/>
                <a:gd name="T109" fmla="*/ 78 h 218"/>
                <a:gd name="T110" fmla="*/ 40 w 318"/>
                <a:gd name="T111" fmla="*/ 78 h 218"/>
                <a:gd name="T112" fmla="*/ 26 w 318"/>
                <a:gd name="T113" fmla="*/ 78 h 218"/>
                <a:gd name="T114" fmla="*/ 12 w 318"/>
                <a:gd name="T115" fmla="*/ 70 h 218"/>
                <a:gd name="T116" fmla="*/ 0 w 318"/>
                <a:gd name="T117" fmla="*/ 62 h 218"/>
                <a:gd name="T118" fmla="*/ 8 w 318"/>
                <a:gd name="T119" fmla="*/ 44 h 218"/>
                <a:gd name="T120" fmla="*/ 8 w 318"/>
                <a:gd name="T121" fmla="*/ 28 h 218"/>
                <a:gd name="T122" fmla="*/ 10 w 318"/>
                <a:gd name="T123" fmla="*/ 18 h 218"/>
                <a:gd name="T124" fmla="*/ 6 w 318"/>
                <a:gd name="T125" fmla="*/ 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8" h="218">
                  <a:moveTo>
                    <a:pt x="6" y="18"/>
                  </a:moveTo>
                  <a:lnTo>
                    <a:pt x="20" y="18"/>
                  </a:lnTo>
                  <a:lnTo>
                    <a:pt x="34" y="18"/>
                  </a:lnTo>
                  <a:lnTo>
                    <a:pt x="46" y="26"/>
                  </a:lnTo>
                  <a:lnTo>
                    <a:pt x="60" y="36"/>
                  </a:lnTo>
                  <a:lnTo>
                    <a:pt x="74" y="36"/>
                  </a:lnTo>
                  <a:lnTo>
                    <a:pt x="88" y="26"/>
                  </a:lnTo>
                  <a:lnTo>
                    <a:pt x="102" y="26"/>
                  </a:lnTo>
                  <a:lnTo>
                    <a:pt x="116" y="26"/>
                  </a:lnTo>
                  <a:lnTo>
                    <a:pt x="128" y="36"/>
                  </a:lnTo>
                  <a:lnTo>
                    <a:pt x="134" y="36"/>
                  </a:lnTo>
                  <a:lnTo>
                    <a:pt x="148" y="42"/>
                  </a:lnTo>
                  <a:lnTo>
                    <a:pt x="160" y="42"/>
                  </a:lnTo>
                  <a:lnTo>
                    <a:pt x="176" y="36"/>
                  </a:lnTo>
                  <a:lnTo>
                    <a:pt x="176" y="18"/>
                  </a:lnTo>
                  <a:lnTo>
                    <a:pt x="188" y="18"/>
                  </a:lnTo>
                  <a:lnTo>
                    <a:pt x="202" y="10"/>
                  </a:lnTo>
                  <a:lnTo>
                    <a:pt x="216" y="0"/>
                  </a:lnTo>
                  <a:lnTo>
                    <a:pt x="228" y="10"/>
                  </a:lnTo>
                  <a:lnTo>
                    <a:pt x="250" y="18"/>
                  </a:lnTo>
                  <a:lnTo>
                    <a:pt x="270" y="18"/>
                  </a:lnTo>
                  <a:lnTo>
                    <a:pt x="278" y="10"/>
                  </a:lnTo>
                  <a:lnTo>
                    <a:pt x="290" y="0"/>
                  </a:lnTo>
                  <a:lnTo>
                    <a:pt x="306" y="10"/>
                  </a:lnTo>
                  <a:lnTo>
                    <a:pt x="312" y="28"/>
                  </a:lnTo>
                  <a:lnTo>
                    <a:pt x="318" y="44"/>
                  </a:lnTo>
                  <a:lnTo>
                    <a:pt x="312" y="62"/>
                  </a:lnTo>
                  <a:lnTo>
                    <a:pt x="318" y="78"/>
                  </a:lnTo>
                  <a:lnTo>
                    <a:pt x="318" y="98"/>
                  </a:lnTo>
                  <a:lnTo>
                    <a:pt x="312" y="112"/>
                  </a:lnTo>
                  <a:lnTo>
                    <a:pt x="306" y="130"/>
                  </a:lnTo>
                  <a:lnTo>
                    <a:pt x="306" y="148"/>
                  </a:lnTo>
                  <a:lnTo>
                    <a:pt x="290" y="172"/>
                  </a:lnTo>
                  <a:lnTo>
                    <a:pt x="278" y="180"/>
                  </a:lnTo>
                  <a:lnTo>
                    <a:pt x="256" y="200"/>
                  </a:lnTo>
                  <a:lnTo>
                    <a:pt x="256" y="200"/>
                  </a:lnTo>
                  <a:lnTo>
                    <a:pt x="236" y="218"/>
                  </a:lnTo>
                  <a:lnTo>
                    <a:pt x="222" y="218"/>
                  </a:lnTo>
                  <a:lnTo>
                    <a:pt x="210" y="206"/>
                  </a:lnTo>
                  <a:lnTo>
                    <a:pt x="222" y="200"/>
                  </a:lnTo>
                  <a:lnTo>
                    <a:pt x="236" y="180"/>
                  </a:lnTo>
                  <a:lnTo>
                    <a:pt x="244" y="164"/>
                  </a:lnTo>
                  <a:lnTo>
                    <a:pt x="228" y="154"/>
                  </a:lnTo>
                  <a:lnTo>
                    <a:pt x="216" y="164"/>
                  </a:lnTo>
                  <a:lnTo>
                    <a:pt x="204" y="154"/>
                  </a:lnTo>
                  <a:lnTo>
                    <a:pt x="188" y="138"/>
                  </a:lnTo>
                  <a:lnTo>
                    <a:pt x="176" y="130"/>
                  </a:lnTo>
                  <a:lnTo>
                    <a:pt x="160" y="120"/>
                  </a:lnTo>
                  <a:lnTo>
                    <a:pt x="150" y="112"/>
                  </a:lnTo>
                  <a:lnTo>
                    <a:pt x="128" y="104"/>
                  </a:lnTo>
                  <a:lnTo>
                    <a:pt x="116" y="104"/>
                  </a:lnTo>
                  <a:lnTo>
                    <a:pt x="102" y="98"/>
                  </a:lnTo>
                  <a:lnTo>
                    <a:pt x="88" y="88"/>
                  </a:lnTo>
                  <a:lnTo>
                    <a:pt x="74" y="78"/>
                  </a:lnTo>
                  <a:lnTo>
                    <a:pt x="52" y="78"/>
                  </a:lnTo>
                  <a:lnTo>
                    <a:pt x="40" y="78"/>
                  </a:lnTo>
                  <a:lnTo>
                    <a:pt x="26" y="78"/>
                  </a:lnTo>
                  <a:lnTo>
                    <a:pt x="12" y="70"/>
                  </a:lnTo>
                  <a:lnTo>
                    <a:pt x="0" y="62"/>
                  </a:lnTo>
                  <a:lnTo>
                    <a:pt x="8" y="44"/>
                  </a:lnTo>
                  <a:lnTo>
                    <a:pt x="8" y="28"/>
                  </a:lnTo>
                  <a:lnTo>
                    <a:pt x="1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79"/>
            <p:cNvSpPr>
              <a:spLocks/>
            </p:cNvSpPr>
            <p:nvPr/>
          </p:nvSpPr>
          <p:spPr bwMode="auto">
            <a:xfrm>
              <a:off x="2471517" y="4791053"/>
              <a:ext cx="475353" cy="325871"/>
            </a:xfrm>
            <a:custGeom>
              <a:avLst/>
              <a:gdLst>
                <a:gd name="T0" fmla="*/ 6 w 318"/>
                <a:gd name="T1" fmla="*/ 18 h 218"/>
                <a:gd name="T2" fmla="*/ 20 w 318"/>
                <a:gd name="T3" fmla="*/ 18 h 218"/>
                <a:gd name="T4" fmla="*/ 34 w 318"/>
                <a:gd name="T5" fmla="*/ 18 h 218"/>
                <a:gd name="T6" fmla="*/ 46 w 318"/>
                <a:gd name="T7" fmla="*/ 26 h 218"/>
                <a:gd name="T8" fmla="*/ 60 w 318"/>
                <a:gd name="T9" fmla="*/ 36 h 218"/>
                <a:gd name="T10" fmla="*/ 74 w 318"/>
                <a:gd name="T11" fmla="*/ 36 h 218"/>
                <a:gd name="T12" fmla="*/ 88 w 318"/>
                <a:gd name="T13" fmla="*/ 26 h 218"/>
                <a:gd name="T14" fmla="*/ 102 w 318"/>
                <a:gd name="T15" fmla="*/ 26 h 218"/>
                <a:gd name="T16" fmla="*/ 116 w 318"/>
                <a:gd name="T17" fmla="*/ 26 h 218"/>
                <a:gd name="T18" fmla="*/ 128 w 318"/>
                <a:gd name="T19" fmla="*/ 36 h 218"/>
                <a:gd name="T20" fmla="*/ 134 w 318"/>
                <a:gd name="T21" fmla="*/ 36 h 218"/>
                <a:gd name="T22" fmla="*/ 148 w 318"/>
                <a:gd name="T23" fmla="*/ 42 h 218"/>
                <a:gd name="T24" fmla="*/ 160 w 318"/>
                <a:gd name="T25" fmla="*/ 42 h 218"/>
                <a:gd name="T26" fmla="*/ 176 w 318"/>
                <a:gd name="T27" fmla="*/ 36 h 218"/>
                <a:gd name="T28" fmla="*/ 176 w 318"/>
                <a:gd name="T29" fmla="*/ 18 h 218"/>
                <a:gd name="T30" fmla="*/ 188 w 318"/>
                <a:gd name="T31" fmla="*/ 18 h 218"/>
                <a:gd name="T32" fmla="*/ 202 w 318"/>
                <a:gd name="T33" fmla="*/ 10 h 218"/>
                <a:gd name="T34" fmla="*/ 216 w 318"/>
                <a:gd name="T35" fmla="*/ 0 h 218"/>
                <a:gd name="T36" fmla="*/ 228 w 318"/>
                <a:gd name="T37" fmla="*/ 10 h 218"/>
                <a:gd name="T38" fmla="*/ 250 w 318"/>
                <a:gd name="T39" fmla="*/ 18 h 218"/>
                <a:gd name="T40" fmla="*/ 270 w 318"/>
                <a:gd name="T41" fmla="*/ 18 h 218"/>
                <a:gd name="T42" fmla="*/ 278 w 318"/>
                <a:gd name="T43" fmla="*/ 10 h 218"/>
                <a:gd name="T44" fmla="*/ 290 w 318"/>
                <a:gd name="T45" fmla="*/ 0 h 218"/>
                <a:gd name="T46" fmla="*/ 306 w 318"/>
                <a:gd name="T47" fmla="*/ 10 h 218"/>
                <a:gd name="T48" fmla="*/ 312 w 318"/>
                <a:gd name="T49" fmla="*/ 28 h 218"/>
                <a:gd name="T50" fmla="*/ 318 w 318"/>
                <a:gd name="T51" fmla="*/ 44 h 218"/>
                <a:gd name="T52" fmla="*/ 312 w 318"/>
                <a:gd name="T53" fmla="*/ 62 h 218"/>
                <a:gd name="T54" fmla="*/ 318 w 318"/>
                <a:gd name="T55" fmla="*/ 78 h 218"/>
                <a:gd name="T56" fmla="*/ 318 w 318"/>
                <a:gd name="T57" fmla="*/ 98 h 218"/>
                <a:gd name="T58" fmla="*/ 312 w 318"/>
                <a:gd name="T59" fmla="*/ 112 h 218"/>
                <a:gd name="T60" fmla="*/ 306 w 318"/>
                <a:gd name="T61" fmla="*/ 130 h 218"/>
                <a:gd name="T62" fmla="*/ 306 w 318"/>
                <a:gd name="T63" fmla="*/ 148 h 218"/>
                <a:gd name="T64" fmla="*/ 290 w 318"/>
                <a:gd name="T65" fmla="*/ 172 h 218"/>
                <a:gd name="T66" fmla="*/ 278 w 318"/>
                <a:gd name="T67" fmla="*/ 180 h 218"/>
                <a:gd name="T68" fmla="*/ 256 w 318"/>
                <a:gd name="T69" fmla="*/ 200 h 218"/>
                <a:gd name="T70" fmla="*/ 256 w 318"/>
                <a:gd name="T71" fmla="*/ 200 h 218"/>
                <a:gd name="T72" fmla="*/ 236 w 318"/>
                <a:gd name="T73" fmla="*/ 218 h 218"/>
                <a:gd name="T74" fmla="*/ 222 w 318"/>
                <a:gd name="T75" fmla="*/ 218 h 218"/>
                <a:gd name="T76" fmla="*/ 210 w 318"/>
                <a:gd name="T77" fmla="*/ 206 h 218"/>
                <a:gd name="T78" fmla="*/ 222 w 318"/>
                <a:gd name="T79" fmla="*/ 200 h 218"/>
                <a:gd name="T80" fmla="*/ 236 w 318"/>
                <a:gd name="T81" fmla="*/ 180 h 218"/>
                <a:gd name="T82" fmla="*/ 244 w 318"/>
                <a:gd name="T83" fmla="*/ 164 h 218"/>
                <a:gd name="T84" fmla="*/ 228 w 318"/>
                <a:gd name="T85" fmla="*/ 154 h 218"/>
                <a:gd name="T86" fmla="*/ 216 w 318"/>
                <a:gd name="T87" fmla="*/ 164 h 218"/>
                <a:gd name="T88" fmla="*/ 204 w 318"/>
                <a:gd name="T89" fmla="*/ 154 h 218"/>
                <a:gd name="T90" fmla="*/ 188 w 318"/>
                <a:gd name="T91" fmla="*/ 138 h 218"/>
                <a:gd name="T92" fmla="*/ 176 w 318"/>
                <a:gd name="T93" fmla="*/ 130 h 218"/>
                <a:gd name="T94" fmla="*/ 160 w 318"/>
                <a:gd name="T95" fmla="*/ 120 h 218"/>
                <a:gd name="T96" fmla="*/ 150 w 318"/>
                <a:gd name="T97" fmla="*/ 112 h 218"/>
                <a:gd name="T98" fmla="*/ 128 w 318"/>
                <a:gd name="T99" fmla="*/ 104 h 218"/>
                <a:gd name="T100" fmla="*/ 116 w 318"/>
                <a:gd name="T101" fmla="*/ 104 h 218"/>
                <a:gd name="T102" fmla="*/ 102 w 318"/>
                <a:gd name="T103" fmla="*/ 98 h 218"/>
                <a:gd name="T104" fmla="*/ 88 w 318"/>
                <a:gd name="T105" fmla="*/ 88 h 218"/>
                <a:gd name="T106" fmla="*/ 74 w 318"/>
                <a:gd name="T107" fmla="*/ 78 h 218"/>
                <a:gd name="T108" fmla="*/ 52 w 318"/>
                <a:gd name="T109" fmla="*/ 78 h 218"/>
                <a:gd name="T110" fmla="*/ 40 w 318"/>
                <a:gd name="T111" fmla="*/ 78 h 218"/>
                <a:gd name="T112" fmla="*/ 26 w 318"/>
                <a:gd name="T113" fmla="*/ 78 h 218"/>
                <a:gd name="T114" fmla="*/ 12 w 318"/>
                <a:gd name="T115" fmla="*/ 70 h 218"/>
                <a:gd name="T116" fmla="*/ 0 w 318"/>
                <a:gd name="T117" fmla="*/ 62 h 218"/>
                <a:gd name="T118" fmla="*/ 8 w 318"/>
                <a:gd name="T119" fmla="*/ 44 h 218"/>
                <a:gd name="T120" fmla="*/ 8 w 318"/>
                <a:gd name="T121" fmla="*/ 28 h 218"/>
                <a:gd name="T122" fmla="*/ 10 w 318"/>
                <a:gd name="T123" fmla="*/ 18 h 218"/>
                <a:gd name="T124" fmla="*/ 6 w 318"/>
                <a:gd name="T125" fmla="*/ 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8" h="218">
                  <a:moveTo>
                    <a:pt x="6" y="18"/>
                  </a:moveTo>
                  <a:lnTo>
                    <a:pt x="20" y="18"/>
                  </a:lnTo>
                  <a:lnTo>
                    <a:pt x="34" y="18"/>
                  </a:lnTo>
                  <a:lnTo>
                    <a:pt x="46" y="26"/>
                  </a:lnTo>
                  <a:lnTo>
                    <a:pt x="60" y="36"/>
                  </a:lnTo>
                  <a:lnTo>
                    <a:pt x="74" y="36"/>
                  </a:lnTo>
                  <a:lnTo>
                    <a:pt x="88" y="26"/>
                  </a:lnTo>
                  <a:lnTo>
                    <a:pt x="102" y="26"/>
                  </a:lnTo>
                  <a:lnTo>
                    <a:pt x="116" y="26"/>
                  </a:lnTo>
                  <a:lnTo>
                    <a:pt x="128" y="36"/>
                  </a:lnTo>
                  <a:lnTo>
                    <a:pt x="134" y="36"/>
                  </a:lnTo>
                  <a:lnTo>
                    <a:pt x="148" y="42"/>
                  </a:lnTo>
                  <a:lnTo>
                    <a:pt x="160" y="42"/>
                  </a:lnTo>
                  <a:lnTo>
                    <a:pt x="176" y="36"/>
                  </a:lnTo>
                  <a:lnTo>
                    <a:pt x="176" y="18"/>
                  </a:lnTo>
                  <a:lnTo>
                    <a:pt x="188" y="18"/>
                  </a:lnTo>
                  <a:lnTo>
                    <a:pt x="202" y="10"/>
                  </a:lnTo>
                  <a:lnTo>
                    <a:pt x="216" y="0"/>
                  </a:lnTo>
                  <a:lnTo>
                    <a:pt x="228" y="10"/>
                  </a:lnTo>
                  <a:lnTo>
                    <a:pt x="250" y="18"/>
                  </a:lnTo>
                  <a:lnTo>
                    <a:pt x="270" y="18"/>
                  </a:lnTo>
                  <a:lnTo>
                    <a:pt x="278" y="10"/>
                  </a:lnTo>
                  <a:lnTo>
                    <a:pt x="290" y="0"/>
                  </a:lnTo>
                  <a:lnTo>
                    <a:pt x="306" y="10"/>
                  </a:lnTo>
                  <a:lnTo>
                    <a:pt x="312" y="28"/>
                  </a:lnTo>
                  <a:lnTo>
                    <a:pt x="318" y="44"/>
                  </a:lnTo>
                  <a:lnTo>
                    <a:pt x="312" y="62"/>
                  </a:lnTo>
                  <a:lnTo>
                    <a:pt x="318" y="78"/>
                  </a:lnTo>
                  <a:lnTo>
                    <a:pt x="318" y="98"/>
                  </a:lnTo>
                  <a:lnTo>
                    <a:pt x="312" y="112"/>
                  </a:lnTo>
                  <a:lnTo>
                    <a:pt x="306" y="130"/>
                  </a:lnTo>
                  <a:lnTo>
                    <a:pt x="306" y="148"/>
                  </a:lnTo>
                  <a:lnTo>
                    <a:pt x="290" y="172"/>
                  </a:lnTo>
                  <a:lnTo>
                    <a:pt x="278" y="180"/>
                  </a:lnTo>
                  <a:lnTo>
                    <a:pt x="256" y="200"/>
                  </a:lnTo>
                  <a:lnTo>
                    <a:pt x="256" y="200"/>
                  </a:lnTo>
                  <a:lnTo>
                    <a:pt x="236" y="218"/>
                  </a:lnTo>
                  <a:lnTo>
                    <a:pt x="222" y="218"/>
                  </a:lnTo>
                  <a:lnTo>
                    <a:pt x="210" y="206"/>
                  </a:lnTo>
                  <a:lnTo>
                    <a:pt x="222" y="200"/>
                  </a:lnTo>
                  <a:lnTo>
                    <a:pt x="236" y="180"/>
                  </a:lnTo>
                  <a:lnTo>
                    <a:pt x="244" y="164"/>
                  </a:lnTo>
                  <a:lnTo>
                    <a:pt x="228" y="154"/>
                  </a:lnTo>
                  <a:lnTo>
                    <a:pt x="216" y="164"/>
                  </a:lnTo>
                  <a:lnTo>
                    <a:pt x="204" y="154"/>
                  </a:lnTo>
                  <a:lnTo>
                    <a:pt x="188" y="138"/>
                  </a:lnTo>
                  <a:lnTo>
                    <a:pt x="176" y="130"/>
                  </a:lnTo>
                  <a:lnTo>
                    <a:pt x="160" y="120"/>
                  </a:lnTo>
                  <a:lnTo>
                    <a:pt x="150" y="112"/>
                  </a:lnTo>
                  <a:lnTo>
                    <a:pt x="128" y="104"/>
                  </a:lnTo>
                  <a:lnTo>
                    <a:pt x="116" y="104"/>
                  </a:lnTo>
                  <a:lnTo>
                    <a:pt x="102" y="98"/>
                  </a:lnTo>
                  <a:lnTo>
                    <a:pt x="88" y="88"/>
                  </a:lnTo>
                  <a:lnTo>
                    <a:pt x="74" y="78"/>
                  </a:lnTo>
                  <a:lnTo>
                    <a:pt x="52" y="78"/>
                  </a:lnTo>
                  <a:lnTo>
                    <a:pt x="40" y="78"/>
                  </a:lnTo>
                  <a:lnTo>
                    <a:pt x="26" y="78"/>
                  </a:lnTo>
                  <a:lnTo>
                    <a:pt x="12" y="70"/>
                  </a:lnTo>
                  <a:lnTo>
                    <a:pt x="0" y="62"/>
                  </a:lnTo>
                  <a:lnTo>
                    <a:pt x="8" y="44"/>
                  </a:lnTo>
                  <a:lnTo>
                    <a:pt x="8" y="28"/>
                  </a:lnTo>
                  <a:lnTo>
                    <a:pt x="10" y="18"/>
                  </a:lnTo>
                  <a:lnTo>
                    <a:pt x="6" y="18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80"/>
            <p:cNvSpPr>
              <a:spLocks/>
            </p:cNvSpPr>
            <p:nvPr/>
          </p:nvSpPr>
          <p:spPr bwMode="auto">
            <a:xfrm>
              <a:off x="2157605" y="4883732"/>
              <a:ext cx="693597" cy="645762"/>
            </a:xfrm>
            <a:custGeom>
              <a:avLst/>
              <a:gdLst>
                <a:gd name="T0" fmla="*/ 444 w 464"/>
                <a:gd name="T1" fmla="*/ 156 h 432"/>
                <a:gd name="T2" fmla="*/ 416 w 464"/>
                <a:gd name="T3" fmla="*/ 146 h 432"/>
                <a:gd name="T4" fmla="*/ 444 w 464"/>
                <a:gd name="T5" fmla="*/ 120 h 432"/>
                <a:gd name="T6" fmla="*/ 436 w 464"/>
                <a:gd name="T7" fmla="*/ 92 h 432"/>
                <a:gd name="T8" fmla="*/ 412 w 464"/>
                <a:gd name="T9" fmla="*/ 92 h 432"/>
                <a:gd name="T10" fmla="*/ 384 w 464"/>
                <a:gd name="T11" fmla="*/ 68 h 432"/>
                <a:gd name="T12" fmla="*/ 358 w 464"/>
                <a:gd name="T13" fmla="*/ 50 h 432"/>
                <a:gd name="T14" fmla="*/ 322 w 464"/>
                <a:gd name="T15" fmla="*/ 42 h 432"/>
                <a:gd name="T16" fmla="*/ 298 w 464"/>
                <a:gd name="T17" fmla="*/ 26 h 432"/>
                <a:gd name="T18" fmla="*/ 262 w 464"/>
                <a:gd name="T19" fmla="*/ 16 h 432"/>
                <a:gd name="T20" fmla="*/ 236 w 464"/>
                <a:gd name="T21" fmla="*/ 16 h 432"/>
                <a:gd name="T22" fmla="*/ 208 w 464"/>
                <a:gd name="T23" fmla="*/ 0 h 432"/>
                <a:gd name="T24" fmla="*/ 188 w 464"/>
                <a:gd name="T25" fmla="*/ 16 h 432"/>
                <a:gd name="T26" fmla="*/ 160 w 464"/>
                <a:gd name="T27" fmla="*/ 26 h 432"/>
                <a:gd name="T28" fmla="*/ 136 w 464"/>
                <a:gd name="T29" fmla="*/ 50 h 432"/>
                <a:gd name="T30" fmla="*/ 106 w 464"/>
                <a:gd name="T31" fmla="*/ 76 h 432"/>
                <a:gd name="T32" fmla="*/ 80 w 464"/>
                <a:gd name="T33" fmla="*/ 112 h 432"/>
                <a:gd name="T34" fmla="*/ 52 w 464"/>
                <a:gd name="T35" fmla="*/ 146 h 432"/>
                <a:gd name="T36" fmla="*/ 20 w 464"/>
                <a:gd name="T37" fmla="*/ 188 h 432"/>
                <a:gd name="T38" fmla="*/ 0 w 464"/>
                <a:gd name="T39" fmla="*/ 224 h 432"/>
                <a:gd name="T40" fmla="*/ 26 w 464"/>
                <a:gd name="T41" fmla="*/ 216 h 432"/>
                <a:gd name="T42" fmla="*/ 60 w 464"/>
                <a:gd name="T43" fmla="*/ 216 h 432"/>
                <a:gd name="T44" fmla="*/ 88 w 464"/>
                <a:gd name="T45" fmla="*/ 250 h 432"/>
                <a:gd name="T46" fmla="*/ 112 w 464"/>
                <a:gd name="T47" fmla="*/ 260 h 432"/>
                <a:gd name="T48" fmla="*/ 140 w 464"/>
                <a:gd name="T49" fmla="*/ 276 h 432"/>
                <a:gd name="T50" fmla="*/ 168 w 464"/>
                <a:gd name="T51" fmla="*/ 292 h 432"/>
                <a:gd name="T52" fmla="*/ 196 w 464"/>
                <a:gd name="T53" fmla="*/ 310 h 432"/>
                <a:gd name="T54" fmla="*/ 220 w 464"/>
                <a:gd name="T55" fmla="*/ 344 h 432"/>
                <a:gd name="T56" fmla="*/ 250 w 464"/>
                <a:gd name="T57" fmla="*/ 372 h 432"/>
                <a:gd name="T58" fmla="*/ 242 w 464"/>
                <a:gd name="T59" fmla="*/ 398 h 432"/>
                <a:gd name="T60" fmla="*/ 236 w 464"/>
                <a:gd name="T61" fmla="*/ 432 h 432"/>
                <a:gd name="T62" fmla="*/ 262 w 464"/>
                <a:gd name="T63" fmla="*/ 422 h 432"/>
                <a:gd name="T64" fmla="*/ 290 w 464"/>
                <a:gd name="T65" fmla="*/ 398 h 432"/>
                <a:gd name="T66" fmla="*/ 302 w 464"/>
                <a:gd name="T67" fmla="*/ 362 h 432"/>
                <a:gd name="T68" fmla="*/ 322 w 464"/>
                <a:gd name="T69" fmla="*/ 338 h 432"/>
                <a:gd name="T70" fmla="*/ 350 w 464"/>
                <a:gd name="T71" fmla="*/ 310 h 432"/>
                <a:gd name="T72" fmla="*/ 378 w 464"/>
                <a:gd name="T73" fmla="*/ 286 h 432"/>
                <a:gd name="T74" fmla="*/ 402 w 464"/>
                <a:gd name="T75" fmla="*/ 260 h 432"/>
                <a:gd name="T76" fmla="*/ 416 w 464"/>
                <a:gd name="T77" fmla="*/ 216 h 432"/>
                <a:gd name="T78" fmla="*/ 444 w 464"/>
                <a:gd name="T79" fmla="*/ 172 h 432"/>
                <a:gd name="T80" fmla="*/ 464 w 464"/>
                <a:gd name="T81" fmla="*/ 14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4" h="432">
                  <a:moveTo>
                    <a:pt x="464" y="142"/>
                  </a:moveTo>
                  <a:lnTo>
                    <a:pt x="444" y="156"/>
                  </a:lnTo>
                  <a:lnTo>
                    <a:pt x="430" y="156"/>
                  </a:lnTo>
                  <a:lnTo>
                    <a:pt x="416" y="146"/>
                  </a:lnTo>
                  <a:lnTo>
                    <a:pt x="430" y="138"/>
                  </a:lnTo>
                  <a:lnTo>
                    <a:pt x="444" y="120"/>
                  </a:lnTo>
                  <a:lnTo>
                    <a:pt x="452" y="104"/>
                  </a:lnTo>
                  <a:lnTo>
                    <a:pt x="436" y="92"/>
                  </a:lnTo>
                  <a:lnTo>
                    <a:pt x="424" y="104"/>
                  </a:lnTo>
                  <a:lnTo>
                    <a:pt x="412" y="92"/>
                  </a:lnTo>
                  <a:lnTo>
                    <a:pt x="396" y="76"/>
                  </a:lnTo>
                  <a:lnTo>
                    <a:pt x="384" y="68"/>
                  </a:lnTo>
                  <a:lnTo>
                    <a:pt x="370" y="60"/>
                  </a:lnTo>
                  <a:lnTo>
                    <a:pt x="358" y="50"/>
                  </a:lnTo>
                  <a:lnTo>
                    <a:pt x="338" y="42"/>
                  </a:lnTo>
                  <a:lnTo>
                    <a:pt x="322" y="42"/>
                  </a:lnTo>
                  <a:lnTo>
                    <a:pt x="310" y="36"/>
                  </a:lnTo>
                  <a:lnTo>
                    <a:pt x="298" y="26"/>
                  </a:lnTo>
                  <a:lnTo>
                    <a:pt x="282" y="16"/>
                  </a:lnTo>
                  <a:lnTo>
                    <a:pt x="262" y="16"/>
                  </a:lnTo>
                  <a:lnTo>
                    <a:pt x="250" y="16"/>
                  </a:lnTo>
                  <a:lnTo>
                    <a:pt x="236" y="16"/>
                  </a:lnTo>
                  <a:lnTo>
                    <a:pt x="220" y="8"/>
                  </a:lnTo>
                  <a:lnTo>
                    <a:pt x="208" y="0"/>
                  </a:lnTo>
                  <a:lnTo>
                    <a:pt x="202" y="8"/>
                  </a:lnTo>
                  <a:lnTo>
                    <a:pt x="188" y="16"/>
                  </a:lnTo>
                  <a:lnTo>
                    <a:pt x="174" y="16"/>
                  </a:lnTo>
                  <a:lnTo>
                    <a:pt x="160" y="26"/>
                  </a:lnTo>
                  <a:lnTo>
                    <a:pt x="148" y="42"/>
                  </a:lnTo>
                  <a:lnTo>
                    <a:pt x="136" y="50"/>
                  </a:lnTo>
                  <a:lnTo>
                    <a:pt x="120" y="68"/>
                  </a:lnTo>
                  <a:lnTo>
                    <a:pt x="106" y="76"/>
                  </a:lnTo>
                  <a:lnTo>
                    <a:pt x="94" y="92"/>
                  </a:lnTo>
                  <a:lnTo>
                    <a:pt x="80" y="112"/>
                  </a:lnTo>
                  <a:lnTo>
                    <a:pt x="68" y="128"/>
                  </a:lnTo>
                  <a:lnTo>
                    <a:pt x="52" y="146"/>
                  </a:lnTo>
                  <a:lnTo>
                    <a:pt x="40" y="164"/>
                  </a:lnTo>
                  <a:lnTo>
                    <a:pt x="20" y="188"/>
                  </a:lnTo>
                  <a:lnTo>
                    <a:pt x="6" y="208"/>
                  </a:lnTo>
                  <a:lnTo>
                    <a:pt x="0" y="224"/>
                  </a:lnTo>
                  <a:lnTo>
                    <a:pt x="14" y="224"/>
                  </a:lnTo>
                  <a:lnTo>
                    <a:pt x="26" y="216"/>
                  </a:lnTo>
                  <a:lnTo>
                    <a:pt x="40" y="208"/>
                  </a:lnTo>
                  <a:lnTo>
                    <a:pt x="60" y="216"/>
                  </a:lnTo>
                  <a:lnTo>
                    <a:pt x="74" y="224"/>
                  </a:lnTo>
                  <a:lnTo>
                    <a:pt x="88" y="250"/>
                  </a:lnTo>
                  <a:lnTo>
                    <a:pt x="98" y="260"/>
                  </a:lnTo>
                  <a:lnTo>
                    <a:pt x="112" y="260"/>
                  </a:lnTo>
                  <a:lnTo>
                    <a:pt x="128" y="266"/>
                  </a:lnTo>
                  <a:lnTo>
                    <a:pt x="140" y="276"/>
                  </a:lnTo>
                  <a:lnTo>
                    <a:pt x="154" y="286"/>
                  </a:lnTo>
                  <a:lnTo>
                    <a:pt x="168" y="292"/>
                  </a:lnTo>
                  <a:lnTo>
                    <a:pt x="182" y="302"/>
                  </a:lnTo>
                  <a:lnTo>
                    <a:pt x="196" y="310"/>
                  </a:lnTo>
                  <a:lnTo>
                    <a:pt x="208" y="328"/>
                  </a:lnTo>
                  <a:lnTo>
                    <a:pt x="220" y="344"/>
                  </a:lnTo>
                  <a:lnTo>
                    <a:pt x="236" y="354"/>
                  </a:lnTo>
                  <a:lnTo>
                    <a:pt x="250" y="372"/>
                  </a:lnTo>
                  <a:lnTo>
                    <a:pt x="256" y="390"/>
                  </a:lnTo>
                  <a:lnTo>
                    <a:pt x="242" y="398"/>
                  </a:lnTo>
                  <a:lnTo>
                    <a:pt x="236" y="414"/>
                  </a:lnTo>
                  <a:lnTo>
                    <a:pt x="236" y="432"/>
                  </a:lnTo>
                  <a:lnTo>
                    <a:pt x="250" y="432"/>
                  </a:lnTo>
                  <a:lnTo>
                    <a:pt x="262" y="422"/>
                  </a:lnTo>
                  <a:lnTo>
                    <a:pt x="276" y="414"/>
                  </a:lnTo>
                  <a:lnTo>
                    <a:pt x="290" y="398"/>
                  </a:lnTo>
                  <a:lnTo>
                    <a:pt x="298" y="380"/>
                  </a:lnTo>
                  <a:lnTo>
                    <a:pt x="302" y="362"/>
                  </a:lnTo>
                  <a:lnTo>
                    <a:pt x="310" y="344"/>
                  </a:lnTo>
                  <a:lnTo>
                    <a:pt x="322" y="338"/>
                  </a:lnTo>
                  <a:lnTo>
                    <a:pt x="338" y="318"/>
                  </a:lnTo>
                  <a:lnTo>
                    <a:pt x="350" y="310"/>
                  </a:lnTo>
                  <a:lnTo>
                    <a:pt x="364" y="302"/>
                  </a:lnTo>
                  <a:lnTo>
                    <a:pt x="378" y="286"/>
                  </a:lnTo>
                  <a:lnTo>
                    <a:pt x="392" y="276"/>
                  </a:lnTo>
                  <a:lnTo>
                    <a:pt x="402" y="260"/>
                  </a:lnTo>
                  <a:lnTo>
                    <a:pt x="412" y="242"/>
                  </a:lnTo>
                  <a:lnTo>
                    <a:pt x="416" y="216"/>
                  </a:lnTo>
                  <a:lnTo>
                    <a:pt x="424" y="198"/>
                  </a:lnTo>
                  <a:lnTo>
                    <a:pt x="444" y="172"/>
                  </a:lnTo>
                  <a:lnTo>
                    <a:pt x="458" y="156"/>
                  </a:lnTo>
                  <a:lnTo>
                    <a:pt x="464" y="142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81"/>
            <p:cNvSpPr>
              <a:spLocks/>
            </p:cNvSpPr>
            <p:nvPr/>
          </p:nvSpPr>
          <p:spPr bwMode="auto">
            <a:xfrm>
              <a:off x="2157605" y="4883732"/>
              <a:ext cx="693597" cy="645762"/>
            </a:xfrm>
            <a:custGeom>
              <a:avLst/>
              <a:gdLst>
                <a:gd name="T0" fmla="*/ 444 w 464"/>
                <a:gd name="T1" fmla="*/ 156 h 432"/>
                <a:gd name="T2" fmla="*/ 416 w 464"/>
                <a:gd name="T3" fmla="*/ 146 h 432"/>
                <a:gd name="T4" fmla="*/ 444 w 464"/>
                <a:gd name="T5" fmla="*/ 120 h 432"/>
                <a:gd name="T6" fmla="*/ 436 w 464"/>
                <a:gd name="T7" fmla="*/ 92 h 432"/>
                <a:gd name="T8" fmla="*/ 412 w 464"/>
                <a:gd name="T9" fmla="*/ 92 h 432"/>
                <a:gd name="T10" fmla="*/ 384 w 464"/>
                <a:gd name="T11" fmla="*/ 68 h 432"/>
                <a:gd name="T12" fmla="*/ 358 w 464"/>
                <a:gd name="T13" fmla="*/ 50 h 432"/>
                <a:gd name="T14" fmla="*/ 322 w 464"/>
                <a:gd name="T15" fmla="*/ 42 h 432"/>
                <a:gd name="T16" fmla="*/ 298 w 464"/>
                <a:gd name="T17" fmla="*/ 26 h 432"/>
                <a:gd name="T18" fmla="*/ 262 w 464"/>
                <a:gd name="T19" fmla="*/ 16 h 432"/>
                <a:gd name="T20" fmla="*/ 236 w 464"/>
                <a:gd name="T21" fmla="*/ 16 h 432"/>
                <a:gd name="T22" fmla="*/ 208 w 464"/>
                <a:gd name="T23" fmla="*/ 0 h 432"/>
                <a:gd name="T24" fmla="*/ 188 w 464"/>
                <a:gd name="T25" fmla="*/ 16 h 432"/>
                <a:gd name="T26" fmla="*/ 160 w 464"/>
                <a:gd name="T27" fmla="*/ 26 h 432"/>
                <a:gd name="T28" fmla="*/ 136 w 464"/>
                <a:gd name="T29" fmla="*/ 50 h 432"/>
                <a:gd name="T30" fmla="*/ 106 w 464"/>
                <a:gd name="T31" fmla="*/ 76 h 432"/>
                <a:gd name="T32" fmla="*/ 80 w 464"/>
                <a:gd name="T33" fmla="*/ 112 h 432"/>
                <a:gd name="T34" fmla="*/ 52 w 464"/>
                <a:gd name="T35" fmla="*/ 146 h 432"/>
                <a:gd name="T36" fmla="*/ 20 w 464"/>
                <a:gd name="T37" fmla="*/ 188 h 432"/>
                <a:gd name="T38" fmla="*/ 0 w 464"/>
                <a:gd name="T39" fmla="*/ 224 h 432"/>
                <a:gd name="T40" fmla="*/ 26 w 464"/>
                <a:gd name="T41" fmla="*/ 216 h 432"/>
                <a:gd name="T42" fmla="*/ 60 w 464"/>
                <a:gd name="T43" fmla="*/ 216 h 432"/>
                <a:gd name="T44" fmla="*/ 88 w 464"/>
                <a:gd name="T45" fmla="*/ 250 h 432"/>
                <a:gd name="T46" fmla="*/ 112 w 464"/>
                <a:gd name="T47" fmla="*/ 260 h 432"/>
                <a:gd name="T48" fmla="*/ 140 w 464"/>
                <a:gd name="T49" fmla="*/ 276 h 432"/>
                <a:gd name="T50" fmla="*/ 168 w 464"/>
                <a:gd name="T51" fmla="*/ 292 h 432"/>
                <a:gd name="T52" fmla="*/ 196 w 464"/>
                <a:gd name="T53" fmla="*/ 310 h 432"/>
                <a:gd name="T54" fmla="*/ 220 w 464"/>
                <a:gd name="T55" fmla="*/ 344 h 432"/>
                <a:gd name="T56" fmla="*/ 250 w 464"/>
                <a:gd name="T57" fmla="*/ 372 h 432"/>
                <a:gd name="T58" fmla="*/ 242 w 464"/>
                <a:gd name="T59" fmla="*/ 398 h 432"/>
                <a:gd name="T60" fmla="*/ 236 w 464"/>
                <a:gd name="T61" fmla="*/ 432 h 432"/>
                <a:gd name="T62" fmla="*/ 262 w 464"/>
                <a:gd name="T63" fmla="*/ 422 h 432"/>
                <a:gd name="T64" fmla="*/ 290 w 464"/>
                <a:gd name="T65" fmla="*/ 398 h 432"/>
                <a:gd name="T66" fmla="*/ 302 w 464"/>
                <a:gd name="T67" fmla="*/ 362 h 432"/>
                <a:gd name="T68" fmla="*/ 322 w 464"/>
                <a:gd name="T69" fmla="*/ 338 h 432"/>
                <a:gd name="T70" fmla="*/ 350 w 464"/>
                <a:gd name="T71" fmla="*/ 310 h 432"/>
                <a:gd name="T72" fmla="*/ 378 w 464"/>
                <a:gd name="T73" fmla="*/ 286 h 432"/>
                <a:gd name="T74" fmla="*/ 402 w 464"/>
                <a:gd name="T75" fmla="*/ 260 h 432"/>
                <a:gd name="T76" fmla="*/ 416 w 464"/>
                <a:gd name="T77" fmla="*/ 216 h 432"/>
                <a:gd name="T78" fmla="*/ 444 w 464"/>
                <a:gd name="T79" fmla="*/ 172 h 432"/>
                <a:gd name="T80" fmla="*/ 464 w 464"/>
                <a:gd name="T81" fmla="*/ 14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4" h="432">
                  <a:moveTo>
                    <a:pt x="464" y="142"/>
                  </a:moveTo>
                  <a:lnTo>
                    <a:pt x="444" y="156"/>
                  </a:lnTo>
                  <a:lnTo>
                    <a:pt x="430" y="156"/>
                  </a:lnTo>
                  <a:lnTo>
                    <a:pt x="416" y="146"/>
                  </a:lnTo>
                  <a:lnTo>
                    <a:pt x="430" y="138"/>
                  </a:lnTo>
                  <a:lnTo>
                    <a:pt x="444" y="120"/>
                  </a:lnTo>
                  <a:lnTo>
                    <a:pt x="452" y="104"/>
                  </a:lnTo>
                  <a:lnTo>
                    <a:pt x="436" y="92"/>
                  </a:lnTo>
                  <a:lnTo>
                    <a:pt x="424" y="104"/>
                  </a:lnTo>
                  <a:lnTo>
                    <a:pt x="412" y="92"/>
                  </a:lnTo>
                  <a:lnTo>
                    <a:pt x="396" y="76"/>
                  </a:lnTo>
                  <a:lnTo>
                    <a:pt x="384" y="68"/>
                  </a:lnTo>
                  <a:lnTo>
                    <a:pt x="370" y="60"/>
                  </a:lnTo>
                  <a:lnTo>
                    <a:pt x="358" y="50"/>
                  </a:lnTo>
                  <a:lnTo>
                    <a:pt x="338" y="42"/>
                  </a:lnTo>
                  <a:lnTo>
                    <a:pt x="322" y="42"/>
                  </a:lnTo>
                  <a:lnTo>
                    <a:pt x="310" y="36"/>
                  </a:lnTo>
                  <a:lnTo>
                    <a:pt x="298" y="26"/>
                  </a:lnTo>
                  <a:lnTo>
                    <a:pt x="282" y="16"/>
                  </a:lnTo>
                  <a:lnTo>
                    <a:pt x="262" y="16"/>
                  </a:lnTo>
                  <a:lnTo>
                    <a:pt x="250" y="16"/>
                  </a:lnTo>
                  <a:lnTo>
                    <a:pt x="236" y="16"/>
                  </a:lnTo>
                  <a:lnTo>
                    <a:pt x="220" y="8"/>
                  </a:lnTo>
                  <a:lnTo>
                    <a:pt x="208" y="0"/>
                  </a:lnTo>
                  <a:lnTo>
                    <a:pt x="202" y="8"/>
                  </a:lnTo>
                  <a:lnTo>
                    <a:pt x="188" y="16"/>
                  </a:lnTo>
                  <a:lnTo>
                    <a:pt x="174" y="16"/>
                  </a:lnTo>
                  <a:lnTo>
                    <a:pt x="160" y="26"/>
                  </a:lnTo>
                  <a:lnTo>
                    <a:pt x="148" y="42"/>
                  </a:lnTo>
                  <a:lnTo>
                    <a:pt x="136" y="50"/>
                  </a:lnTo>
                  <a:lnTo>
                    <a:pt x="120" y="68"/>
                  </a:lnTo>
                  <a:lnTo>
                    <a:pt x="106" y="76"/>
                  </a:lnTo>
                  <a:lnTo>
                    <a:pt x="94" y="92"/>
                  </a:lnTo>
                  <a:lnTo>
                    <a:pt x="80" y="112"/>
                  </a:lnTo>
                  <a:lnTo>
                    <a:pt x="68" y="128"/>
                  </a:lnTo>
                  <a:lnTo>
                    <a:pt x="52" y="146"/>
                  </a:lnTo>
                  <a:lnTo>
                    <a:pt x="40" y="164"/>
                  </a:lnTo>
                  <a:lnTo>
                    <a:pt x="20" y="188"/>
                  </a:lnTo>
                  <a:lnTo>
                    <a:pt x="6" y="208"/>
                  </a:lnTo>
                  <a:lnTo>
                    <a:pt x="0" y="224"/>
                  </a:lnTo>
                  <a:lnTo>
                    <a:pt x="14" y="224"/>
                  </a:lnTo>
                  <a:lnTo>
                    <a:pt x="26" y="216"/>
                  </a:lnTo>
                  <a:lnTo>
                    <a:pt x="40" y="208"/>
                  </a:lnTo>
                  <a:lnTo>
                    <a:pt x="60" y="216"/>
                  </a:lnTo>
                  <a:lnTo>
                    <a:pt x="74" y="224"/>
                  </a:lnTo>
                  <a:lnTo>
                    <a:pt x="88" y="250"/>
                  </a:lnTo>
                  <a:lnTo>
                    <a:pt x="98" y="260"/>
                  </a:lnTo>
                  <a:lnTo>
                    <a:pt x="112" y="260"/>
                  </a:lnTo>
                  <a:lnTo>
                    <a:pt x="128" y="266"/>
                  </a:lnTo>
                  <a:lnTo>
                    <a:pt x="140" y="276"/>
                  </a:lnTo>
                  <a:lnTo>
                    <a:pt x="154" y="286"/>
                  </a:lnTo>
                  <a:lnTo>
                    <a:pt x="168" y="292"/>
                  </a:lnTo>
                  <a:lnTo>
                    <a:pt x="182" y="302"/>
                  </a:lnTo>
                  <a:lnTo>
                    <a:pt x="196" y="310"/>
                  </a:lnTo>
                  <a:lnTo>
                    <a:pt x="208" y="328"/>
                  </a:lnTo>
                  <a:lnTo>
                    <a:pt x="220" y="344"/>
                  </a:lnTo>
                  <a:lnTo>
                    <a:pt x="236" y="354"/>
                  </a:lnTo>
                  <a:lnTo>
                    <a:pt x="250" y="372"/>
                  </a:lnTo>
                  <a:lnTo>
                    <a:pt x="256" y="390"/>
                  </a:lnTo>
                  <a:lnTo>
                    <a:pt x="242" y="398"/>
                  </a:lnTo>
                  <a:lnTo>
                    <a:pt x="236" y="414"/>
                  </a:lnTo>
                  <a:lnTo>
                    <a:pt x="236" y="432"/>
                  </a:lnTo>
                  <a:lnTo>
                    <a:pt x="250" y="432"/>
                  </a:lnTo>
                  <a:lnTo>
                    <a:pt x="262" y="422"/>
                  </a:lnTo>
                  <a:lnTo>
                    <a:pt x="276" y="414"/>
                  </a:lnTo>
                  <a:lnTo>
                    <a:pt x="290" y="398"/>
                  </a:lnTo>
                  <a:lnTo>
                    <a:pt x="298" y="380"/>
                  </a:lnTo>
                  <a:lnTo>
                    <a:pt x="302" y="362"/>
                  </a:lnTo>
                  <a:lnTo>
                    <a:pt x="310" y="344"/>
                  </a:lnTo>
                  <a:lnTo>
                    <a:pt x="322" y="338"/>
                  </a:lnTo>
                  <a:lnTo>
                    <a:pt x="338" y="318"/>
                  </a:lnTo>
                  <a:lnTo>
                    <a:pt x="350" y="310"/>
                  </a:lnTo>
                  <a:lnTo>
                    <a:pt x="364" y="302"/>
                  </a:lnTo>
                  <a:lnTo>
                    <a:pt x="378" y="286"/>
                  </a:lnTo>
                  <a:lnTo>
                    <a:pt x="392" y="276"/>
                  </a:lnTo>
                  <a:lnTo>
                    <a:pt x="402" y="260"/>
                  </a:lnTo>
                  <a:lnTo>
                    <a:pt x="412" y="242"/>
                  </a:lnTo>
                  <a:lnTo>
                    <a:pt x="416" y="216"/>
                  </a:lnTo>
                  <a:lnTo>
                    <a:pt x="424" y="198"/>
                  </a:lnTo>
                  <a:lnTo>
                    <a:pt x="444" y="172"/>
                  </a:lnTo>
                  <a:lnTo>
                    <a:pt x="458" y="156"/>
                  </a:lnTo>
                  <a:lnTo>
                    <a:pt x="464" y="142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82"/>
            <p:cNvSpPr>
              <a:spLocks/>
            </p:cNvSpPr>
            <p:nvPr/>
          </p:nvSpPr>
          <p:spPr bwMode="auto">
            <a:xfrm>
              <a:off x="3691290" y="2964383"/>
              <a:ext cx="639783" cy="221233"/>
            </a:xfrm>
            <a:custGeom>
              <a:avLst/>
              <a:gdLst>
                <a:gd name="T0" fmla="*/ 414 w 428"/>
                <a:gd name="T1" fmla="*/ 104 h 148"/>
                <a:gd name="T2" fmla="*/ 420 w 428"/>
                <a:gd name="T3" fmla="*/ 70 h 148"/>
                <a:gd name="T4" fmla="*/ 428 w 428"/>
                <a:gd name="T5" fmla="*/ 36 h 148"/>
                <a:gd name="T6" fmla="*/ 428 w 428"/>
                <a:gd name="T7" fmla="*/ 18 h 148"/>
                <a:gd name="T8" fmla="*/ 400 w 428"/>
                <a:gd name="T9" fmla="*/ 18 h 148"/>
                <a:gd name="T10" fmla="*/ 380 w 428"/>
                <a:gd name="T11" fmla="*/ 44 h 148"/>
                <a:gd name="T12" fmla="*/ 352 w 428"/>
                <a:gd name="T13" fmla="*/ 54 h 148"/>
                <a:gd name="T14" fmla="*/ 326 w 428"/>
                <a:gd name="T15" fmla="*/ 54 h 148"/>
                <a:gd name="T16" fmla="*/ 300 w 428"/>
                <a:gd name="T17" fmla="*/ 80 h 148"/>
                <a:gd name="T18" fmla="*/ 272 w 428"/>
                <a:gd name="T19" fmla="*/ 62 h 148"/>
                <a:gd name="T20" fmla="*/ 276 w 428"/>
                <a:gd name="T21" fmla="*/ 36 h 148"/>
                <a:gd name="T22" fmla="*/ 276 w 428"/>
                <a:gd name="T23" fmla="*/ 2 h 148"/>
                <a:gd name="T24" fmla="*/ 250 w 428"/>
                <a:gd name="T25" fmla="*/ 10 h 148"/>
                <a:gd name="T26" fmla="*/ 224 w 428"/>
                <a:gd name="T27" fmla="*/ 36 h 148"/>
                <a:gd name="T28" fmla="*/ 198 w 428"/>
                <a:gd name="T29" fmla="*/ 36 h 148"/>
                <a:gd name="T30" fmla="*/ 182 w 428"/>
                <a:gd name="T31" fmla="*/ 16 h 148"/>
                <a:gd name="T32" fmla="*/ 156 w 428"/>
                <a:gd name="T33" fmla="*/ 34 h 148"/>
                <a:gd name="T34" fmla="*/ 136 w 428"/>
                <a:gd name="T35" fmla="*/ 26 h 148"/>
                <a:gd name="T36" fmla="*/ 110 w 428"/>
                <a:gd name="T37" fmla="*/ 2 h 148"/>
                <a:gd name="T38" fmla="*/ 82 w 428"/>
                <a:gd name="T39" fmla="*/ 10 h 148"/>
                <a:gd name="T40" fmla="*/ 60 w 428"/>
                <a:gd name="T41" fmla="*/ 0 h 148"/>
                <a:gd name="T42" fmla="*/ 48 w 428"/>
                <a:gd name="T43" fmla="*/ 36 h 148"/>
                <a:gd name="T44" fmla="*/ 34 w 428"/>
                <a:gd name="T45" fmla="*/ 70 h 148"/>
                <a:gd name="T46" fmla="*/ 8 w 428"/>
                <a:gd name="T47" fmla="*/ 86 h 148"/>
                <a:gd name="T48" fmla="*/ 14 w 428"/>
                <a:gd name="T49" fmla="*/ 86 h 148"/>
                <a:gd name="T50" fmla="*/ 34 w 428"/>
                <a:gd name="T51" fmla="*/ 114 h 148"/>
                <a:gd name="T52" fmla="*/ 40 w 428"/>
                <a:gd name="T53" fmla="*/ 148 h 148"/>
                <a:gd name="T54" fmla="*/ 76 w 428"/>
                <a:gd name="T55" fmla="*/ 130 h 148"/>
                <a:gd name="T56" fmla="*/ 100 w 428"/>
                <a:gd name="T57" fmla="*/ 104 h 148"/>
                <a:gd name="T58" fmla="*/ 136 w 428"/>
                <a:gd name="T59" fmla="*/ 86 h 148"/>
                <a:gd name="T60" fmla="*/ 162 w 428"/>
                <a:gd name="T61" fmla="*/ 104 h 148"/>
                <a:gd name="T62" fmla="*/ 190 w 428"/>
                <a:gd name="T63" fmla="*/ 114 h 148"/>
                <a:gd name="T64" fmla="*/ 204 w 428"/>
                <a:gd name="T65" fmla="*/ 140 h 148"/>
                <a:gd name="T66" fmla="*/ 230 w 428"/>
                <a:gd name="T67" fmla="*/ 122 h 148"/>
                <a:gd name="T68" fmla="*/ 258 w 428"/>
                <a:gd name="T69" fmla="*/ 140 h 148"/>
                <a:gd name="T70" fmla="*/ 286 w 428"/>
                <a:gd name="T71" fmla="*/ 148 h 148"/>
                <a:gd name="T72" fmla="*/ 312 w 428"/>
                <a:gd name="T73" fmla="*/ 148 h 148"/>
                <a:gd name="T74" fmla="*/ 338 w 428"/>
                <a:gd name="T75" fmla="*/ 130 h 148"/>
                <a:gd name="T76" fmla="*/ 366 w 428"/>
                <a:gd name="T77" fmla="*/ 114 h 148"/>
                <a:gd name="T78" fmla="*/ 394 w 428"/>
                <a:gd name="T79" fmla="*/ 11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8" h="148">
                  <a:moveTo>
                    <a:pt x="408" y="122"/>
                  </a:moveTo>
                  <a:lnTo>
                    <a:pt x="414" y="104"/>
                  </a:lnTo>
                  <a:lnTo>
                    <a:pt x="414" y="86"/>
                  </a:lnTo>
                  <a:lnTo>
                    <a:pt x="420" y="70"/>
                  </a:lnTo>
                  <a:lnTo>
                    <a:pt x="420" y="54"/>
                  </a:lnTo>
                  <a:lnTo>
                    <a:pt x="428" y="36"/>
                  </a:lnTo>
                  <a:lnTo>
                    <a:pt x="428" y="18"/>
                  </a:lnTo>
                  <a:lnTo>
                    <a:pt x="428" y="18"/>
                  </a:lnTo>
                  <a:lnTo>
                    <a:pt x="414" y="18"/>
                  </a:lnTo>
                  <a:lnTo>
                    <a:pt x="400" y="18"/>
                  </a:lnTo>
                  <a:lnTo>
                    <a:pt x="386" y="26"/>
                  </a:lnTo>
                  <a:lnTo>
                    <a:pt x="380" y="44"/>
                  </a:lnTo>
                  <a:lnTo>
                    <a:pt x="366" y="54"/>
                  </a:lnTo>
                  <a:lnTo>
                    <a:pt x="352" y="54"/>
                  </a:lnTo>
                  <a:lnTo>
                    <a:pt x="338" y="54"/>
                  </a:lnTo>
                  <a:lnTo>
                    <a:pt x="326" y="54"/>
                  </a:lnTo>
                  <a:lnTo>
                    <a:pt x="312" y="62"/>
                  </a:lnTo>
                  <a:lnTo>
                    <a:pt x="300" y="80"/>
                  </a:lnTo>
                  <a:lnTo>
                    <a:pt x="286" y="80"/>
                  </a:lnTo>
                  <a:lnTo>
                    <a:pt x="272" y="62"/>
                  </a:lnTo>
                  <a:lnTo>
                    <a:pt x="264" y="44"/>
                  </a:lnTo>
                  <a:lnTo>
                    <a:pt x="276" y="36"/>
                  </a:lnTo>
                  <a:lnTo>
                    <a:pt x="286" y="18"/>
                  </a:lnTo>
                  <a:lnTo>
                    <a:pt x="276" y="2"/>
                  </a:lnTo>
                  <a:lnTo>
                    <a:pt x="264" y="2"/>
                  </a:lnTo>
                  <a:lnTo>
                    <a:pt x="250" y="10"/>
                  </a:lnTo>
                  <a:lnTo>
                    <a:pt x="236" y="18"/>
                  </a:lnTo>
                  <a:lnTo>
                    <a:pt x="224" y="36"/>
                  </a:lnTo>
                  <a:lnTo>
                    <a:pt x="210" y="44"/>
                  </a:lnTo>
                  <a:lnTo>
                    <a:pt x="198" y="36"/>
                  </a:lnTo>
                  <a:lnTo>
                    <a:pt x="182" y="18"/>
                  </a:lnTo>
                  <a:lnTo>
                    <a:pt x="182" y="16"/>
                  </a:lnTo>
                  <a:lnTo>
                    <a:pt x="164" y="16"/>
                  </a:lnTo>
                  <a:lnTo>
                    <a:pt x="156" y="34"/>
                  </a:lnTo>
                  <a:lnTo>
                    <a:pt x="152" y="40"/>
                  </a:lnTo>
                  <a:lnTo>
                    <a:pt x="136" y="26"/>
                  </a:lnTo>
                  <a:lnTo>
                    <a:pt x="122" y="10"/>
                  </a:lnTo>
                  <a:lnTo>
                    <a:pt x="110" y="2"/>
                  </a:lnTo>
                  <a:lnTo>
                    <a:pt x="96" y="2"/>
                  </a:lnTo>
                  <a:lnTo>
                    <a:pt x="82" y="10"/>
                  </a:lnTo>
                  <a:lnTo>
                    <a:pt x="68" y="10"/>
                  </a:lnTo>
                  <a:lnTo>
                    <a:pt x="60" y="0"/>
                  </a:lnTo>
                  <a:lnTo>
                    <a:pt x="48" y="18"/>
                  </a:lnTo>
                  <a:lnTo>
                    <a:pt x="48" y="36"/>
                  </a:lnTo>
                  <a:lnTo>
                    <a:pt x="48" y="54"/>
                  </a:lnTo>
                  <a:lnTo>
                    <a:pt x="34" y="70"/>
                  </a:lnTo>
                  <a:lnTo>
                    <a:pt x="20" y="70"/>
                  </a:lnTo>
                  <a:lnTo>
                    <a:pt x="8" y="86"/>
                  </a:lnTo>
                  <a:lnTo>
                    <a:pt x="0" y="86"/>
                  </a:lnTo>
                  <a:lnTo>
                    <a:pt x="14" y="86"/>
                  </a:lnTo>
                  <a:lnTo>
                    <a:pt x="20" y="104"/>
                  </a:lnTo>
                  <a:lnTo>
                    <a:pt x="34" y="114"/>
                  </a:lnTo>
                  <a:lnTo>
                    <a:pt x="34" y="130"/>
                  </a:lnTo>
                  <a:lnTo>
                    <a:pt x="40" y="148"/>
                  </a:lnTo>
                  <a:lnTo>
                    <a:pt x="60" y="148"/>
                  </a:lnTo>
                  <a:lnTo>
                    <a:pt x="76" y="130"/>
                  </a:lnTo>
                  <a:lnTo>
                    <a:pt x="88" y="122"/>
                  </a:lnTo>
                  <a:lnTo>
                    <a:pt x="100" y="104"/>
                  </a:lnTo>
                  <a:lnTo>
                    <a:pt x="114" y="98"/>
                  </a:lnTo>
                  <a:lnTo>
                    <a:pt x="136" y="86"/>
                  </a:lnTo>
                  <a:lnTo>
                    <a:pt x="152" y="98"/>
                  </a:lnTo>
                  <a:lnTo>
                    <a:pt x="162" y="104"/>
                  </a:lnTo>
                  <a:lnTo>
                    <a:pt x="176" y="104"/>
                  </a:lnTo>
                  <a:lnTo>
                    <a:pt x="190" y="114"/>
                  </a:lnTo>
                  <a:lnTo>
                    <a:pt x="198" y="130"/>
                  </a:lnTo>
                  <a:lnTo>
                    <a:pt x="204" y="140"/>
                  </a:lnTo>
                  <a:lnTo>
                    <a:pt x="218" y="122"/>
                  </a:lnTo>
                  <a:lnTo>
                    <a:pt x="230" y="122"/>
                  </a:lnTo>
                  <a:lnTo>
                    <a:pt x="244" y="122"/>
                  </a:lnTo>
                  <a:lnTo>
                    <a:pt x="258" y="140"/>
                  </a:lnTo>
                  <a:lnTo>
                    <a:pt x="272" y="148"/>
                  </a:lnTo>
                  <a:lnTo>
                    <a:pt x="286" y="148"/>
                  </a:lnTo>
                  <a:lnTo>
                    <a:pt x="300" y="148"/>
                  </a:lnTo>
                  <a:lnTo>
                    <a:pt x="312" y="148"/>
                  </a:lnTo>
                  <a:lnTo>
                    <a:pt x="326" y="140"/>
                  </a:lnTo>
                  <a:lnTo>
                    <a:pt x="338" y="130"/>
                  </a:lnTo>
                  <a:lnTo>
                    <a:pt x="352" y="114"/>
                  </a:lnTo>
                  <a:lnTo>
                    <a:pt x="366" y="114"/>
                  </a:lnTo>
                  <a:lnTo>
                    <a:pt x="380" y="114"/>
                  </a:lnTo>
                  <a:lnTo>
                    <a:pt x="394" y="114"/>
                  </a:lnTo>
                  <a:lnTo>
                    <a:pt x="408" y="122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83"/>
            <p:cNvSpPr>
              <a:spLocks/>
            </p:cNvSpPr>
            <p:nvPr/>
          </p:nvSpPr>
          <p:spPr bwMode="auto">
            <a:xfrm>
              <a:off x="3691290" y="2964383"/>
              <a:ext cx="639783" cy="221233"/>
            </a:xfrm>
            <a:custGeom>
              <a:avLst/>
              <a:gdLst>
                <a:gd name="T0" fmla="*/ 414 w 428"/>
                <a:gd name="T1" fmla="*/ 104 h 148"/>
                <a:gd name="T2" fmla="*/ 420 w 428"/>
                <a:gd name="T3" fmla="*/ 70 h 148"/>
                <a:gd name="T4" fmla="*/ 428 w 428"/>
                <a:gd name="T5" fmla="*/ 36 h 148"/>
                <a:gd name="T6" fmla="*/ 428 w 428"/>
                <a:gd name="T7" fmla="*/ 18 h 148"/>
                <a:gd name="T8" fmla="*/ 400 w 428"/>
                <a:gd name="T9" fmla="*/ 18 h 148"/>
                <a:gd name="T10" fmla="*/ 380 w 428"/>
                <a:gd name="T11" fmla="*/ 44 h 148"/>
                <a:gd name="T12" fmla="*/ 352 w 428"/>
                <a:gd name="T13" fmla="*/ 54 h 148"/>
                <a:gd name="T14" fmla="*/ 326 w 428"/>
                <a:gd name="T15" fmla="*/ 54 h 148"/>
                <a:gd name="T16" fmla="*/ 300 w 428"/>
                <a:gd name="T17" fmla="*/ 80 h 148"/>
                <a:gd name="T18" fmla="*/ 272 w 428"/>
                <a:gd name="T19" fmla="*/ 62 h 148"/>
                <a:gd name="T20" fmla="*/ 276 w 428"/>
                <a:gd name="T21" fmla="*/ 36 h 148"/>
                <a:gd name="T22" fmla="*/ 276 w 428"/>
                <a:gd name="T23" fmla="*/ 2 h 148"/>
                <a:gd name="T24" fmla="*/ 250 w 428"/>
                <a:gd name="T25" fmla="*/ 10 h 148"/>
                <a:gd name="T26" fmla="*/ 224 w 428"/>
                <a:gd name="T27" fmla="*/ 36 h 148"/>
                <a:gd name="T28" fmla="*/ 198 w 428"/>
                <a:gd name="T29" fmla="*/ 36 h 148"/>
                <a:gd name="T30" fmla="*/ 182 w 428"/>
                <a:gd name="T31" fmla="*/ 16 h 148"/>
                <a:gd name="T32" fmla="*/ 156 w 428"/>
                <a:gd name="T33" fmla="*/ 34 h 148"/>
                <a:gd name="T34" fmla="*/ 136 w 428"/>
                <a:gd name="T35" fmla="*/ 26 h 148"/>
                <a:gd name="T36" fmla="*/ 110 w 428"/>
                <a:gd name="T37" fmla="*/ 2 h 148"/>
                <a:gd name="T38" fmla="*/ 82 w 428"/>
                <a:gd name="T39" fmla="*/ 10 h 148"/>
                <a:gd name="T40" fmla="*/ 60 w 428"/>
                <a:gd name="T41" fmla="*/ 0 h 148"/>
                <a:gd name="T42" fmla="*/ 48 w 428"/>
                <a:gd name="T43" fmla="*/ 36 h 148"/>
                <a:gd name="T44" fmla="*/ 34 w 428"/>
                <a:gd name="T45" fmla="*/ 70 h 148"/>
                <a:gd name="T46" fmla="*/ 8 w 428"/>
                <a:gd name="T47" fmla="*/ 86 h 148"/>
                <a:gd name="T48" fmla="*/ 14 w 428"/>
                <a:gd name="T49" fmla="*/ 86 h 148"/>
                <a:gd name="T50" fmla="*/ 34 w 428"/>
                <a:gd name="T51" fmla="*/ 114 h 148"/>
                <a:gd name="T52" fmla="*/ 40 w 428"/>
                <a:gd name="T53" fmla="*/ 148 h 148"/>
                <a:gd name="T54" fmla="*/ 76 w 428"/>
                <a:gd name="T55" fmla="*/ 130 h 148"/>
                <a:gd name="T56" fmla="*/ 100 w 428"/>
                <a:gd name="T57" fmla="*/ 104 h 148"/>
                <a:gd name="T58" fmla="*/ 136 w 428"/>
                <a:gd name="T59" fmla="*/ 86 h 148"/>
                <a:gd name="T60" fmla="*/ 162 w 428"/>
                <a:gd name="T61" fmla="*/ 104 h 148"/>
                <a:gd name="T62" fmla="*/ 190 w 428"/>
                <a:gd name="T63" fmla="*/ 114 h 148"/>
                <a:gd name="T64" fmla="*/ 204 w 428"/>
                <a:gd name="T65" fmla="*/ 140 h 148"/>
                <a:gd name="T66" fmla="*/ 230 w 428"/>
                <a:gd name="T67" fmla="*/ 122 h 148"/>
                <a:gd name="T68" fmla="*/ 258 w 428"/>
                <a:gd name="T69" fmla="*/ 140 h 148"/>
                <a:gd name="T70" fmla="*/ 286 w 428"/>
                <a:gd name="T71" fmla="*/ 148 h 148"/>
                <a:gd name="T72" fmla="*/ 312 w 428"/>
                <a:gd name="T73" fmla="*/ 148 h 148"/>
                <a:gd name="T74" fmla="*/ 338 w 428"/>
                <a:gd name="T75" fmla="*/ 130 h 148"/>
                <a:gd name="T76" fmla="*/ 366 w 428"/>
                <a:gd name="T77" fmla="*/ 114 h 148"/>
                <a:gd name="T78" fmla="*/ 394 w 428"/>
                <a:gd name="T79" fmla="*/ 11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8" h="148">
                  <a:moveTo>
                    <a:pt x="408" y="122"/>
                  </a:moveTo>
                  <a:lnTo>
                    <a:pt x="414" y="104"/>
                  </a:lnTo>
                  <a:lnTo>
                    <a:pt x="414" y="86"/>
                  </a:lnTo>
                  <a:lnTo>
                    <a:pt x="420" y="70"/>
                  </a:lnTo>
                  <a:lnTo>
                    <a:pt x="420" y="54"/>
                  </a:lnTo>
                  <a:lnTo>
                    <a:pt x="428" y="36"/>
                  </a:lnTo>
                  <a:lnTo>
                    <a:pt x="428" y="18"/>
                  </a:lnTo>
                  <a:lnTo>
                    <a:pt x="428" y="18"/>
                  </a:lnTo>
                  <a:lnTo>
                    <a:pt x="414" y="18"/>
                  </a:lnTo>
                  <a:lnTo>
                    <a:pt x="400" y="18"/>
                  </a:lnTo>
                  <a:lnTo>
                    <a:pt x="386" y="26"/>
                  </a:lnTo>
                  <a:lnTo>
                    <a:pt x="380" y="44"/>
                  </a:lnTo>
                  <a:lnTo>
                    <a:pt x="366" y="54"/>
                  </a:lnTo>
                  <a:lnTo>
                    <a:pt x="352" y="54"/>
                  </a:lnTo>
                  <a:lnTo>
                    <a:pt x="338" y="54"/>
                  </a:lnTo>
                  <a:lnTo>
                    <a:pt x="326" y="54"/>
                  </a:lnTo>
                  <a:lnTo>
                    <a:pt x="312" y="62"/>
                  </a:lnTo>
                  <a:lnTo>
                    <a:pt x="300" y="80"/>
                  </a:lnTo>
                  <a:lnTo>
                    <a:pt x="286" y="80"/>
                  </a:lnTo>
                  <a:lnTo>
                    <a:pt x="272" y="62"/>
                  </a:lnTo>
                  <a:lnTo>
                    <a:pt x="264" y="44"/>
                  </a:lnTo>
                  <a:lnTo>
                    <a:pt x="276" y="36"/>
                  </a:lnTo>
                  <a:lnTo>
                    <a:pt x="286" y="18"/>
                  </a:lnTo>
                  <a:lnTo>
                    <a:pt x="276" y="2"/>
                  </a:lnTo>
                  <a:lnTo>
                    <a:pt x="264" y="2"/>
                  </a:lnTo>
                  <a:lnTo>
                    <a:pt x="250" y="10"/>
                  </a:lnTo>
                  <a:lnTo>
                    <a:pt x="236" y="18"/>
                  </a:lnTo>
                  <a:lnTo>
                    <a:pt x="224" y="36"/>
                  </a:lnTo>
                  <a:lnTo>
                    <a:pt x="210" y="44"/>
                  </a:lnTo>
                  <a:lnTo>
                    <a:pt x="198" y="36"/>
                  </a:lnTo>
                  <a:lnTo>
                    <a:pt x="182" y="18"/>
                  </a:lnTo>
                  <a:lnTo>
                    <a:pt x="182" y="16"/>
                  </a:lnTo>
                  <a:lnTo>
                    <a:pt x="164" y="16"/>
                  </a:lnTo>
                  <a:lnTo>
                    <a:pt x="156" y="34"/>
                  </a:lnTo>
                  <a:lnTo>
                    <a:pt x="152" y="40"/>
                  </a:lnTo>
                  <a:lnTo>
                    <a:pt x="136" y="26"/>
                  </a:lnTo>
                  <a:lnTo>
                    <a:pt x="122" y="10"/>
                  </a:lnTo>
                  <a:lnTo>
                    <a:pt x="110" y="2"/>
                  </a:lnTo>
                  <a:lnTo>
                    <a:pt x="96" y="2"/>
                  </a:lnTo>
                  <a:lnTo>
                    <a:pt x="82" y="10"/>
                  </a:lnTo>
                  <a:lnTo>
                    <a:pt x="68" y="10"/>
                  </a:lnTo>
                  <a:lnTo>
                    <a:pt x="60" y="0"/>
                  </a:lnTo>
                  <a:lnTo>
                    <a:pt x="48" y="18"/>
                  </a:lnTo>
                  <a:lnTo>
                    <a:pt x="48" y="36"/>
                  </a:lnTo>
                  <a:lnTo>
                    <a:pt x="48" y="54"/>
                  </a:lnTo>
                  <a:lnTo>
                    <a:pt x="34" y="70"/>
                  </a:lnTo>
                  <a:lnTo>
                    <a:pt x="20" y="70"/>
                  </a:lnTo>
                  <a:lnTo>
                    <a:pt x="8" y="86"/>
                  </a:lnTo>
                  <a:lnTo>
                    <a:pt x="0" y="86"/>
                  </a:lnTo>
                  <a:lnTo>
                    <a:pt x="14" y="86"/>
                  </a:lnTo>
                  <a:lnTo>
                    <a:pt x="20" y="104"/>
                  </a:lnTo>
                  <a:lnTo>
                    <a:pt x="34" y="114"/>
                  </a:lnTo>
                  <a:lnTo>
                    <a:pt x="34" y="130"/>
                  </a:lnTo>
                  <a:lnTo>
                    <a:pt x="40" y="148"/>
                  </a:lnTo>
                  <a:lnTo>
                    <a:pt x="60" y="148"/>
                  </a:lnTo>
                  <a:lnTo>
                    <a:pt x="76" y="130"/>
                  </a:lnTo>
                  <a:lnTo>
                    <a:pt x="88" y="122"/>
                  </a:lnTo>
                  <a:lnTo>
                    <a:pt x="100" y="104"/>
                  </a:lnTo>
                  <a:lnTo>
                    <a:pt x="114" y="98"/>
                  </a:lnTo>
                  <a:lnTo>
                    <a:pt x="136" y="86"/>
                  </a:lnTo>
                  <a:lnTo>
                    <a:pt x="152" y="98"/>
                  </a:lnTo>
                  <a:lnTo>
                    <a:pt x="162" y="104"/>
                  </a:lnTo>
                  <a:lnTo>
                    <a:pt x="176" y="104"/>
                  </a:lnTo>
                  <a:lnTo>
                    <a:pt x="190" y="114"/>
                  </a:lnTo>
                  <a:lnTo>
                    <a:pt x="198" y="130"/>
                  </a:lnTo>
                  <a:lnTo>
                    <a:pt x="204" y="140"/>
                  </a:lnTo>
                  <a:lnTo>
                    <a:pt x="218" y="122"/>
                  </a:lnTo>
                  <a:lnTo>
                    <a:pt x="230" y="122"/>
                  </a:lnTo>
                  <a:lnTo>
                    <a:pt x="244" y="122"/>
                  </a:lnTo>
                  <a:lnTo>
                    <a:pt x="258" y="140"/>
                  </a:lnTo>
                  <a:lnTo>
                    <a:pt x="272" y="148"/>
                  </a:lnTo>
                  <a:lnTo>
                    <a:pt x="286" y="148"/>
                  </a:lnTo>
                  <a:lnTo>
                    <a:pt x="300" y="148"/>
                  </a:lnTo>
                  <a:lnTo>
                    <a:pt x="312" y="148"/>
                  </a:lnTo>
                  <a:lnTo>
                    <a:pt x="326" y="140"/>
                  </a:lnTo>
                  <a:lnTo>
                    <a:pt x="338" y="130"/>
                  </a:lnTo>
                  <a:lnTo>
                    <a:pt x="352" y="114"/>
                  </a:lnTo>
                  <a:lnTo>
                    <a:pt x="366" y="114"/>
                  </a:lnTo>
                  <a:lnTo>
                    <a:pt x="380" y="114"/>
                  </a:lnTo>
                  <a:lnTo>
                    <a:pt x="394" y="114"/>
                  </a:lnTo>
                  <a:lnTo>
                    <a:pt x="408" y="122"/>
                  </a:lnTo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84"/>
            <p:cNvSpPr>
              <a:spLocks/>
            </p:cNvSpPr>
            <p:nvPr/>
          </p:nvSpPr>
          <p:spPr bwMode="auto">
            <a:xfrm>
              <a:off x="3957368" y="2850777"/>
              <a:ext cx="373705" cy="230202"/>
            </a:xfrm>
            <a:custGeom>
              <a:avLst/>
              <a:gdLst>
                <a:gd name="T0" fmla="*/ 0 w 250"/>
                <a:gd name="T1" fmla="*/ 86 h 154"/>
                <a:gd name="T2" fmla="*/ 6 w 250"/>
                <a:gd name="T3" fmla="*/ 78 h 154"/>
                <a:gd name="T4" fmla="*/ 6 w 250"/>
                <a:gd name="T5" fmla="*/ 58 h 154"/>
                <a:gd name="T6" fmla="*/ 12 w 250"/>
                <a:gd name="T7" fmla="*/ 42 h 154"/>
                <a:gd name="T8" fmla="*/ 12 w 250"/>
                <a:gd name="T9" fmla="*/ 26 h 154"/>
                <a:gd name="T10" fmla="*/ 20 w 250"/>
                <a:gd name="T11" fmla="*/ 16 h 154"/>
                <a:gd name="T12" fmla="*/ 32 w 250"/>
                <a:gd name="T13" fmla="*/ 26 h 154"/>
                <a:gd name="T14" fmla="*/ 46 w 250"/>
                <a:gd name="T15" fmla="*/ 16 h 154"/>
                <a:gd name="T16" fmla="*/ 58 w 250"/>
                <a:gd name="T17" fmla="*/ 16 h 154"/>
                <a:gd name="T18" fmla="*/ 72 w 250"/>
                <a:gd name="T19" fmla="*/ 8 h 154"/>
                <a:gd name="T20" fmla="*/ 86 w 250"/>
                <a:gd name="T21" fmla="*/ 0 h 154"/>
                <a:gd name="T22" fmla="*/ 94 w 250"/>
                <a:gd name="T23" fmla="*/ 16 h 154"/>
                <a:gd name="T24" fmla="*/ 82 w 250"/>
                <a:gd name="T25" fmla="*/ 26 h 154"/>
                <a:gd name="T26" fmla="*/ 82 w 250"/>
                <a:gd name="T27" fmla="*/ 42 h 154"/>
                <a:gd name="T28" fmla="*/ 94 w 250"/>
                <a:gd name="T29" fmla="*/ 52 h 154"/>
                <a:gd name="T30" fmla="*/ 108 w 250"/>
                <a:gd name="T31" fmla="*/ 42 h 154"/>
                <a:gd name="T32" fmla="*/ 120 w 250"/>
                <a:gd name="T33" fmla="*/ 52 h 154"/>
                <a:gd name="T34" fmla="*/ 134 w 250"/>
                <a:gd name="T35" fmla="*/ 58 h 154"/>
                <a:gd name="T36" fmla="*/ 142 w 250"/>
                <a:gd name="T37" fmla="*/ 52 h 154"/>
                <a:gd name="T38" fmla="*/ 142 w 250"/>
                <a:gd name="T39" fmla="*/ 34 h 154"/>
                <a:gd name="T40" fmla="*/ 154 w 250"/>
                <a:gd name="T41" fmla="*/ 26 h 154"/>
                <a:gd name="T42" fmla="*/ 168 w 250"/>
                <a:gd name="T43" fmla="*/ 34 h 154"/>
                <a:gd name="T44" fmla="*/ 182 w 250"/>
                <a:gd name="T45" fmla="*/ 34 h 154"/>
                <a:gd name="T46" fmla="*/ 196 w 250"/>
                <a:gd name="T47" fmla="*/ 26 h 154"/>
                <a:gd name="T48" fmla="*/ 208 w 250"/>
                <a:gd name="T49" fmla="*/ 42 h 154"/>
                <a:gd name="T50" fmla="*/ 222 w 250"/>
                <a:gd name="T51" fmla="*/ 42 h 154"/>
                <a:gd name="T52" fmla="*/ 236 w 250"/>
                <a:gd name="T53" fmla="*/ 34 h 154"/>
                <a:gd name="T54" fmla="*/ 236 w 250"/>
                <a:gd name="T55" fmla="*/ 42 h 154"/>
                <a:gd name="T56" fmla="*/ 236 w 250"/>
                <a:gd name="T57" fmla="*/ 34 h 154"/>
                <a:gd name="T58" fmla="*/ 242 w 250"/>
                <a:gd name="T59" fmla="*/ 52 h 154"/>
                <a:gd name="T60" fmla="*/ 250 w 250"/>
                <a:gd name="T61" fmla="*/ 68 h 154"/>
                <a:gd name="T62" fmla="*/ 250 w 250"/>
                <a:gd name="T63" fmla="*/ 86 h 154"/>
                <a:gd name="T64" fmla="*/ 250 w 250"/>
                <a:gd name="T65" fmla="*/ 94 h 154"/>
                <a:gd name="T66" fmla="*/ 250 w 250"/>
                <a:gd name="T67" fmla="*/ 94 h 154"/>
                <a:gd name="T68" fmla="*/ 236 w 250"/>
                <a:gd name="T69" fmla="*/ 94 h 154"/>
                <a:gd name="T70" fmla="*/ 222 w 250"/>
                <a:gd name="T71" fmla="*/ 94 h 154"/>
                <a:gd name="T72" fmla="*/ 208 w 250"/>
                <a:gd name="T73" fmla="*/ 104 h 154"/>
                <a:gd name="T74" fmla="*/ 202 w 250"/>
                <a:gd name="T75" fmla="*/ 120 h 154"/>
                <a:gd name="T76" fmla="*/ 188 w 250"/>
                <a:gd name="T77" fmla="*/ 128 h 154"/>
                <a:gd name="T78" fmla="*/ 174 w 250"/>
                <a:gd name="T79" fmla="*/ 128 h 154"/>
                <a:gd name="T80" fmla="*/ 160 w 250"/>
                <a:gd name="T81" fmla="*/ 128 h 154"/>
                <a:gd name="T82" fmla="*/ 148 w 250"/>
                <a:gd name="T83" fmla="*/ 128 h 154"/>
                <a:gd name="T84" fmla="*/ 134 w 250"/>
                <a:gd name="T85" fmla="*/ 138 h 154"/>
                <a:gd name="T86" fmla="*/ 120 w 250"/>
                <a:gd name="T87" fmla="*/ 154 h 154"/>
                <a:gd name="T88" fmla="*/ 108 w 250"/>
                <a:gd name="T89" fmla="*/ 154 h 154"/>
                <a:gd name="T90" fmla="*/ 94 w 250"/>
                <a:gd name="T91" fmla="*/ 138 h 154"/>
                <a:gd name="T92" fmla="*/ 86 w 250"/>
                <a:gd name="T93" fmla="*/ 120 h 154"/>
                <a:gd name="T94" fmla="*/ 100 w 250"/>
                <a:gd name="T95" fmla="*/ 112 h 154"/>
                <a:gd name="T96" fmla="*/ 108 w 250"/>
                <a:gd name="T97" fmla="*/ 94 h 154"/>
                <a:gd name="T98" fmla="*/ 100 w 250"/>
                <a:gd name="T99" fmla="*/ 78 h 154"/>
                <a:gd name="T100" fmla="*/ 86 w 250"/>
                <a:gd name="T101" fmla="*/ 78 h 154"/>
                <a:gd name="T102" fmla="*/ 72 w 250"/>
                <a:gd name="T103" fmla="*/ 86 h 154"/>
                <a:gd name="T104" fmla="*/ 58 w 250"/>
                <a:gd name="T105" fmla="*/ 94 h 154"/>
                <a:gd name="T106" fmla="*/ 46 w 250"/>
                <a:gd name="T107" fmla="*/ 112 h 154"/>
                <a:gd name="T108" fmla="*/ 32 w 250"/>
                <a:gd name="T109" fmla="*/ 120 h 154"/>
                <a:gd name="T110" fmla="*/ 20 w 250"/>
                <a:gd name="T111" fmla="*/ 112 h 154"/>
                <a:gd name="T112" fmla="*/ 6 w 250"/>
                <a:gd name="T113" fmla="*/ 94 h 154"/>
                <a:gd name="T114" fmla="*/ 0 w 250"/>
                <a:gd name="T115" fmla="*/ 8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0" h="154">
                  <a:moveTo>
                    <a:pt x="0" y="86"/>
                  </a:moveTo>
                  <a:lnTo>
                    <a:pt x="6" y="78"/>
                  </a:lnTo>
                  <a:lnTo>
                    <a:pt x="6" y="58"/>
                  </a:lnTo>
                  <a:lnTo>
                    <a:pt x="12" y="42"/>
                  </a:lnTo>
                  <a:lnTo>
                    <a:pt x="12" y="26"/>
                  </a:lnTo>
                  <a:lnTo>
                    <a:pt x="20" y="16"/>
                  </a:lnTo>
                  <a:lnTo>
                    <a:pt x="32" y="26"/>
                  </a:lnTo>
                  <a:lnTo>
                    <a:pt x="46" y="16"/>
                  </a:lnTo>
                  <a:lnTo>
                    <a:pt x="58" y="16"/>
                  </a:lnTo>
                  <a:lnTo>
                    <a:pt x="72" y="8"/>
                  </a:lnTo>
                  <a:lnTo>
                    <a:pt x="86" y="0"/>
                  </a:lnTo>
                  <a:lnTo>
                    <a:pt x="94" y="16"/>
                  </a:lnTo>
                  <a:lnTo>
                    <a:pt x="82" y="26"/>
                  </a:lnTo>
                  <a:lnTo>
                    <a:pt x="82" y="42"/>
                  </a:lnTo>
                  <a:lnTo>
                    <a:pt x="94" y="52"/>
                  </a:lnTo>
                  <a:lnTo>
                    <a:pt x="108" y="42"/>
                  </a:lnTo>
                  <a:lnTo>
                    <a:pt x="120" y="52"/>
                  </a:lnTo>
                  <a:lnTo>
                    <a:pt x="134" y="58"/>
                  </a:lnTo>
                  <a:lnTo>
                    <a:pt x="142" y="52"/>
                  </a:lnTo>
                  <a:lnTo>
                    <a:pt x="142" y="34"/>
                  </a:lnTo>
                  <a:lnTo>
                    <a:pt x="154" y="26"/>
                  </a:lnTo>
                  <a:lnTo>
                    <a:pt x="168" y="34"/>
                  </a:lnTo>
                  <a:lnTo>
                    <a:pt x="182" y="34"/>
                  </a:lnTo>
                  <a:lnTo>
                    <a:pt x="196" y="26"/>
                  </a:lnTo>
                  <a:lnTo>
                    <a:pt x="208" y="42"/>
                  </a:lnTo>
                  <a:lnTo>
                    <a:pt x="222" y="42"/>
                  </a:lnTo>
                  <a:lnTo>
                    <a:pt x="236" y="34"/>
                  </a:lnTo>
                  <a:lnTo>
                    <a:pt x="236" y="42"/>
                  </a:lnTo>
                  <a:lnTo>
                    <a:pt x="236" y="34"/>
                  </a:lnTo>
                  <a:lnTo>
                    <a:pt x="242" y="52"/>
                  </a:lnTo>
                  <a:lnTo>
                    <a:pt x="250" y="68"/>
                  </a:lnTo>
                  <a:lnTo>
                    <a:pt x="250" y="86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36" y="94"/>
                  </a:lnTo>
                  <a:lnTo>
                    <a:pt x="222" y="94"/>
                  </a:lnTo>
                  <a:lnTo>
                    <a:pt x="208" y="104"/>
                  </a:lnTo>
                  <a:lnTo>
                    <a:pt x="202" y="120"/>
                  </a:lnTo>
                  <a:lnTo>
                    <a:pt x="188" y="128"/>
                  </a:lnTo>
                  <a:lnTo>
                    <a:pt x="174" y="128"/>
                  </a:lnTo>
                  <a:lnTo>
                    <a:pt x="160" y="128"/>
                  </a:lnTo>
                  <a:lnTo>
                    <a:pt x="148" y="128"/>
                  </a:lnTo>
                  <a:lnTo>
                    <a:pt x="134" y="138"/>
                  </a:lnTo>
                  <a:lnTo>
                    <a:pt x="120" y="154"/>
                  </a:lnTo>
                  <a:lnTo>
                    <a:pt x="108" y="154"/>
                  </a:lnTo>
                  <a:lnTo>
                    <a:pt x="94" y="138"/>
                  </a:lnTo>
                  <a:lnTo>
                    <a:pt x="86" y="120"/>
                  </a:lnTo>
                  <a:lnTo>
                    <a:pt x="100" y="112"/>
                  </a:lnTo>
                  <a:lnTo>
                    <a:pt x="108" y="94"/>
                  </a:lnTo>
                  <a:lnTo>
                    <a:pt x="100" y="78"/>
                  </a:lnTo>
                  <a:lnTo>
                    <a:pt x="86" y="78"/>
                  </a:lnTo>
                  <a:lnTo>
                    <a:pt x="72" y="86"/>
                  </a:lnTo>
                  <a:lnTo>
                    <a:pt x="58" y="94"/>
                  </a:lnTo>
                  <a:lnTo>
                    <a:pt x="46" y="112"/>
                  </a:lnTo>
                  <a:lnTo>
                    <a:pt x="32" y="120"/>
                  </a:lnTo>
                  <a:lnTo>
                    <a:pt x="20" y="112"/>
                  </a:lnTo>
                  <a:lnTo>
                    <a:pt x="6" y="94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85"/>
            <p:cNvSpPr>
              <a:spLocks/>
            </p:cNvSpPr>
            <p:nvPr/>
          </p:nvSpPr>
          <p:spPr bwMode="auto">
            <a:xfrm>
              <a:off x="3957368" y="2850777"/>
              <a:ext cx="373705" cy="230202"/>
            </a:xfrm>
            <a:custGeom>
              <a:avLst/>
              <a:gdLst>
                <a:gd name="T0" fmla="*/ 0 w 250"/>
                <a:gd name="T1" fmla="*/ 86 h 154"/>
                <a:gd name="T2" fmla="*/ 6 w 250"/>
                <a:gd name="T3" fmla="*/ 78 h 154"/>
                <a:gd name="T4" fmla="*/ 6 w 250"/>
                <a:gd name="T5" fmla="*/ 58 h 154"/>
                <a:gd name="T6" fmla="*/ 12 w 250"/>
                <a:gd name="T7" fmla="*/ 42 h 154"/>
                <a:gd name="T8" fmla="*/ 12 w 250"/>
                <a:gd name="T9" fmla="*/ 26 h 154"/>
                <a:gd name="T10" fmla="*/ 20 w 250"/>
                <a:gd name="T11" fmla="*/ 16 h 154"/>
                <a:gd name="T12" fmla="*/ 32 w 250"/>
                <a:gd name="T13" fmla="*/ 26 h 154"/>
                <a:gd name="T14" fmla="*/ 46 w 250"/>
                <a:gd name="T15" fmla="*/ 16 h 154"/>
                <a:gd name="T16" fmla="*/ 58 w 250"/>
                <a:gd name="T17" fmla="*/ 16 h 154"/>
                <a:gd name="T18" fmla="*/ 72 w 250"/>
                <a:gd name="T19" fmla="*/ 8 h 154"/>
                <a:gd name="T20" fmla="*/ 86 w 250"/>
                <a:gd name="T21" fmla="*/ 0 h 154"/>
                <a:gd name="T22" fmla="*/ 94 w 250"/>
                <a:gd name="T23" fmla="*/ 16 h 154"/>
                <a:gd name="T24" fmla="*/ 82 w 250"/>
                <a:gd name="T25" fmla="*/ 26 h 154"/>
                <a:gd name="T26" fmla="*/ 82 w 250"/>
                <a:gd name="T27" fmla="*/ 42 h 154"/>
                <a:gd name="T28" fmla="*/ 94 w 250"/>
                <a:gd name="T29" fmla="*/ 52 h 154"/>
                <a:gd name="T30" fmla="*/ 108 w 250"/>
                <a:gd name="T31" fmla="*/ 42 h 154"/>
                <a:gd name="T32" fmla="*/ 120 w 250"/>
                <a:gd name="T33" fmla="*/ 52 h 154"/>
                <a:gd name="T34" fmla="*/ 134 w 250"/>
                <a:gd name="T35" fmla="*/ 58 h 154"/>
                <a:gd name="T36" fmla="*/ 142 w 250"/>
                <a:gd name="T37" fmla="*/ 52 h 154"/>
                <a:gd name="T38" fmla="*/ 142 w 250"/>
                <a:gd name="T39" fmla="*/ 34 h 154"/>
                <a:gd name="T40" fmla="*/ 154 w 250"/>
                <a:gd name="T41" fmla="*/ 26 h 154"/>
                <a:gd name="T42" fmla="*/ 168 w 250"/>
                <a:gd name="T43" fmla="*/ 34 h 154"/>
                <a:gd name="T44" fmla="*/ 182 w 250"/>
                <a:gd name="T45" fmla="*/ 34 h 154"/>
                <a:gd name="T46" fmla="*/ 196 w 250"/>
                <a:gd name="T47" fmla="*/ 26 h 154"/>
                <a:gd name="T48" fmla="*/ 208 w 250"/>
                <a:gd name="T49" fmla="*/ 42 h 154"/>
                <a:gd name="T50" fmla="*/ 222 w 250"/>
                <a:gd name="T51" fmla="*/ 42 h 154"/>
                <a:gd name="T52" fmla="*/ 236 w 250"/>
                <a:gd name="T53" fmla="*/ 34 h 154"/>
                <a:gd name="T54" fmla="*/ 236 w 250"/>
                <a:gd name="T55" fmla="*/ 42 h 154"/>
                <a:gd name="T56" fmla="*/ 236 w 250"/>
                <a:gd name="T57" fmla="*/ 34 h 154"/>
                <a:gd name="T58" fmla="*/ 242 w 250"/>
                <a:gd name="T59" fmla="*/ 52 h 154"/>
                <a:gd name="T60" fmla="*/ 250 w 250"/>
                <a:gd name="T61" fmla="*/ 68 h 154"/>
                <a:gd name="T62" fmla="*/ 250 w 250"/>
                <a:gd name="T63" fmla="*/ 86 h 154"/>
                <a:gd name="T64" fmla="*/ 250 w 250"/>
                <a:gd name="T65" fmla="*/ 94 h 154"/>
                <a:gd name="T66" fmla="*/ 250 w 250"/>
                <a:gd name="T67" fmla="*/ 94 h 154"/>
                <a:gd name="T68" fmla="*/ 236 w 250"/>
                <a:gd name="T69" fmla="*/ 94 h 154"/>
                <a:gd name="T70" fmla="*/ 222 w 250"/>
                <a:gd name="T71" fmla="*/ 94 h 154"/>
                <a:gd name="T72" fmla="*/ 208 w 250"/>
                <a:gd name="T73" fmla="*/ 104 h 154"/>
                <a:gd name="T74" fmla="*/ 202 w 250"/>
                <a:gd name="T75" fmla="*/ 120 h 154"/>
                <a:gd name="T76" fmla="*/ 188 w 250"/>
                <a:gd name="T77" fmla="*/ 128 h 154"/>
                <a:gd name="T78" fmla="*/ 174 w 250"/>
                <a:gd name="T79" fmla="*/ 128 h 154"/>
                <a:gd name="T80" fmla="*/ 160 w 250"/>
                <a:gd name="T81" fmla="*/ 128 h 154"/>
                <a:gd name="T82" fmla="*/ 148 w 250"/>
                <a:gd name="T83" fmla="*/ 128 h 154"/>
                <a:gd name="T84" fmla="*/ 134 w 250"/>
                <a:gd name="T85" fmla="*/ 138 h 154"/>
                <a:gd name="T86" fmla="*/ 120 w 250"/>
                <a:gd name="T87" fmla="*/ 154 h 154"/>
                <a:gd name="T88" fmla="*/ 108 w 250"/>
                <a:gd name="T89" fmla="*/ 154 h 154"/>
                <a:gd name="T90" fmla="*/ 94 w 250"/>
                <a:gd name="T91" fmla="*/ 138 h 154"/>
                <a:gd name="T92" fmla="*/ 86 w 250"/>
                <a:gd name="T93" fmla="*/ 120 h 154"/>
                <a:gd name="T94" fmla="*/ 100 w 250"/>
                <a:gd name="T95" fmla="*/ 112 h 154"/>
                <a:gd name="T96" fmla="*/ 108 w 250"/>
                <a:gd name="T97" fmla="*/ 94 h 154"/>
                <a:gd name="T98" fmla="*/ 100 w 250"/>
                <a:gd name="T99" fmla="*/ 78 h 154"/>
                <a:gd name="T100" fmla="*/ 86 w 250"/>
                <a:gd name="T101" fmla="*/ 78 h 154"/>
                <a:gd name="T102" fmla="*/ 72 w 250"/>
                <a:gd name="T103" fmla="*/ 86 h 154"/>
                <a:gd name="T104" fmla="*/ 58 w 250"/>
                <a:gd name="T105" fmla="*/ 94 h 154"/>
                <a:gd name="T106" fmla="*/ 46 w 250"/>
                <a:gd name="T107" fmla="*/ 112 h 154"/>
                <a:gd name="T108" fmla="*/ 32 w 250"/>
                <a:gd name="T109" fmla="*/ 120 h 154"/>
                <a:gd name="T110" fmla="*/ 20 w 250"/>
                <a:gd name="T111" fmla="*/ 112 h 154"/>
                <a:gd name="T112" fmla="*/ 6 w 250"/>
                <a:gd name="T113" fmla="*/ 94 h 154"/>
                <a:gd name="T114" fmla="*/ 0 w 250"/>
                <a:gd name="T115" fmla="*/ 8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0" h="154">
                  <a:moveTo>
                    <a:pt x="0" y="86"/>
                  </a:moveTo>
                  <a:lnTo>
                    <a:pt x="6" y="78"/>
                  </a:lnTo>
                  <a:lnTo>
                    <a:pt x="6" y="58"/>
                  </a:lnTo>
                  <a:lnTo>
                    <a:pt x="12" y="42"/>
                  </a:lnTo>
                  <a:lnTo>
                    <a:pt x="12" y="26"/>
                  </a:lnTo>
                  <a:lnTo>
                    <a:pt x="20" y="16"/>
                  </a:lnTo>
                  <a:lnTo>
                    <a:pt x="32" y="26"/>
                  </a:lnTo>
                  <a:lnTo>
                    <a:pt x="46" y="16"/>
                  </a:lnTo>
                  <a:lnTo>
                    <a:pt x="58" y="16"/>
                  </a:lnTo>
                  <a:lnTo>
                    <a:pt x="72" y="8"/>
                  </a:lnTo>
                  <a:lnTo>
                    <a:pt x="86" y="0"/>
                  </a:lnTo>
                  <a:lnTo>
                    <a:pt x="94" y="16"/>
                  </a:lnTo>
                  <a:lnTo>
                    <a:pt x="82" y="26"/>
                  </a:lnTo>
                  <a:lnTo>
                    <a:pt x="82" y="42"/>
                  </a:lnTo>
                  <a:lnTo>
                    <a:pt x="94" y="52"/>
                  </a:lnTo>
                  <a:lnTo>
                    <a:pt x="108" y="42"/>
                  </a:lnTo>
                  <a:lnTo>
                    <a:pt x="120" y="52"/>
                  </a:lnTo>
                  <a:lnTo>
                    <a:pt x="134" y="58"/>
                  </a:lnTo>
                  <a:lnTo>
                    <a:pt x="142" y="52"/>
                  </a:lnTo>
                  <a:lnTo>
                    <a:pt x="142" y="34"/>
                  </a:lnTo>
                  <a:lnTo>
                    <a:pt x="154" y="26"/>
                  </a:lnTo>
                  <a:lnTo>
                    <a:pt x="168" y="34"/>
                  </a:lnTo>
                  <a:lnTo>
                    <a:pt x="182" y="34"/>
                  </a:lnTo>
                  <a:lnTo>
                    <a:pt x="196" y="26"/>
                  </a:lnTo>
                  <a:lnTo>
                    <a:pt x="208" y="42"/>
                  </a:lnTo>
                  <a:lnTo>
                    <a:pt x="222" y="42"/>
                  </a:lnTo>
                  <a:lnTo>
                    <a:pt x="236" y="34"/>
                  </a:lnTo>
                  <a:lnTo>
                    <a:pt x="236" y="42"/>
                  </a:lnTo>
                  <a:lnTo>
                    <a:pt x="236" y="34"/>
                  </a:lnTo>
                  <a:lnTo>
                    <a:pt x="242" y="52"/>
                  </a:lnTo>
                  <a:lnTo>
                    <a:pt x="250" y="68"/>
                  </a:lnTo>
                  <a:lnTo>
                    <a:pt x="250" y="86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36" y="94"/>
                  </a:lnTo>
                  <a:lnTo>
                    <a:pt x="222" y="94"/>
                  </a:lnTo>
                  <a:lnTo>
                    <a:pt x="208" y="104"/>
                  </a:lnTo>
                  <a:lnTo>
                    <a:pt x="202" y="120"/>
                  </a:lnTo>
                  <a:lnTo>
                    <a:pt x="188" y="128"/>
                  </a:lnTo>
                  <a:lnTo>
                    <a:pt x="174" y="128"/>
                  </a:lnTo>
                  <a:lnTo>
                    <a:pt x="160" y="128"/>
                  </a:lnTo>
                  <a:lnTo>
                    <a:pt x="148" y="128"/>
                  </a:lnTo>
                  <a:lnTo>
                    <a:pt x="134" y="138"/>
                  </a:lnTo>
                  <a:lnTo>
                    <a:pt x="120" y="154"/>
                  </a:lnTo>
                  <a:lnTo>
                    <a:pt x="108" y="154"/>
                  </a:lnTo>
                  <a:lnTo>
                    <a:pt x="94" y="138"/>
                  </a:lnTo>
                  <a:lnTo>
                    <a:pt x="86" y="120"/>
                  </a:lnTo>
                  <a:lnTo>
                    <a:pt x="100" y="112"/>
                  </a:lnTo>
                  <a:lnTo>
                    <a:pt x="108" y="94"/>
                  </a:lnTo>
                  <a:lnTo>
                    <a:pt x="100" y="78"/>
                  </a:lnTo>
                  <a:lnTo>
                    <a:pt x="86" y="78"/>
                  </a:lnTo>
                  <a:lnTo>
                    <a:pt x="72" y="86"/>
                  </a:lnTo>
                  <a:lnTo>
                    <a:pt x="58" y="94"/>
                  </a:lnTo>
                  <a:lnTo>
                    <a:pt x="46" y="112"/>
                  </a:lnTo>
                  <a:lnTo>
                    <a:pt x="32" y="120"/>
                  </a:lnTo>
                  <a:lnTo>
                    <a:pt x="20" y="112"/>
                  </a:lnTo>
                  <a:lnTo>
                    <a:pt x="6" y="94"/>
                  </a:lnTo>
                  <a:lnTo>
                    <a:pt x="0" y="86"/>
                  </a:lnTo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88"/>
            <p:cNvSpPr>
              <a:spLocks/>
            </p:cNvSpPr>
            <p:nvPr/>
          </p:nvSpPr>
          <p:spPr bwMode="auto">
            <a:xfrm>
              <a:off x="483406" y="3018197"/>
              <a:ext cx="735452" cy="322881"/>
            </a:xfrm>
            <a:custGeom>
              <a:avLst/>
              <a:gdLst>
                <a:gd name="T0" fmla="*/ 258 w 492"/>
                <a:gd name="T1" fmla="*/ 50 h 216"/>
                <a:gd name="T2" fmla="*/ 214 w 492"/>
                <a:gd name="T3" fmla="*/ 50 h 216"/>
                <a:gd name="T4" fmla="*/ 42 w 492"/>
                <a:gd name="T5" fmla="*/ 10 h 216"/>
                <a:gd name="T6" fmla="*/ 0 w 492"/>
                <a:gd name="T7" fmla="*/ 0 h 216"/>
                <a:gd name="T8" fmla="*/ 26 w 492"/>
                <a:gd name="T9" fmla="*/ 36 h 216"/>
                <a:gd name="T10" fmla="*/ 32 w 492"/>
                <a:gd name="T11" fmla="*/ 50 h 216"/>
                <a:gd name="T12" fmla="*/ 46 w 492"/>
                <a:gd name="T13" fmla="*/ 60 h 216"/>
                <a:gd name="T14" fmla="*/ 52 w 492"/>
                <a:gd name="T15" fmla="*/ 78 h 216"/>
                <a:gd name="T16" fmla="*/ 66 w 492"/>
                <a:gd name="T17" fmla="*/ 102 h 216"/>
                <a:gd name="T18" fmla="*/ 60 w 492"/>
                <a:gd name="T19" fmla="*/ 120 h 216"/>
                <a:gd name="T20" fmla="*/ 72 w 492"/>
                <a:gd name="T21" fmla="*/ 128 h 216"/>
                <a:gd name="T22" fmla="*/ 86 w 492"/>
                <a:gd name="T23" fmla="*/ 128 h 216"/>
                <a:gd name="T24" fmla="*/ 98 w 492"/>
                <a:gd name="T25" fmla="*/ 128 h 216"/>
                <a:gd name="T26" fmla="*/ 114 w 492"/>
                <a:gd name="T27" fmla="*/ 140 h 216"/>
                <a:gd name="T28" fmla="*/ 126 w 492"/>
                <a:gd name="T29" fmla="*/ 146 h 216"/>
                <a:gd name="T30" fmla="*/ 140 w 492"/>
                <a:gd name="T31" fmla="*/ 156 h 216"/>
                <a:gd name="T32" fmla="*/ 168 w 492"/>
                <a:gd name="T33" fmla="*/ 156 h 216"/>
                <a:gd name="T34" fmla="*/ 180 w 492"/>
                <a:gd name="T35" fmla="*/ 146 h 216"/>
                <a:gd name="T36" fmla="*/ 222 w 492"/>
                <a:gd name="T37" fmla="*/ 120 h 216"/>
                <a:gd name="T38" fmla="*/ 236 w 492"/>
                <a:gd name="T39" fmla="*/ 128 h 216"/>
                <a:gd name="T40" fmla="*/ 228 w 492"/>
                <a:gd name="T41" fmla="*/ 146 h 216"/>
                <a:gd name="T42" fmla="*/ 228 w 492"/>
                <a:gd name="T43" fmla="*/ 164 h 216"/>
                <a:gd name="T44" fmla="*/ 236 w 492"/>
                <a:gd name="T45" fmla="*/ 180 h 216"/>
                <a:gd name="T46" fmla="*/ 236 w 492"/>
                <a:gd name="T47" fmla="*/ 216 h 216"/>
                <a:gd name="T48" fmla="*/ 276 w 492"/>
                <a:gd name="T49" fmla="*/ 216 h 216"/>
                <a:gd name="T50" fmla="*/ 288 w 492"/>
                <a:gd name="T51" fmla="*/ 208 h 216"/>
                <a:gd name="T52" fmla="*/ 330 w 492"/>
                <a:gd name="T53" fmla="*/ 208 h 216"/>
                <a:gd name="T54" fmla="*/ 344 w 492"/>
                <a:gd name="T55" fmla="*/ 216 h 216"/>
                <a:gd name="T56" fmla="*/ 368 w 492"/>
                <a:gd name="T57" fmla="*/ 216 h 216"/>
                <a:gd name="T58" fmla="*/ 384 w 492"/>
                <a:gd name="T59" fmla="*/ 198 h 216"/>
                <a:gd name="T60" fmla="*/ 404 w 492"/>
                <a:gd name="T61" fmla="*/ 190 h 216"/>
                <a:gd name="T62" fmla="*/ 418 w 492"/>
                <a:gd name="T63" fmla="*/ 190 h 216"/>
                <a:gd name="T64" fmla="*/ 430 w 492"/>
                <a:gd name="T65" fmla="*/ 180 h 216"/>
                <a:gd name="T66" fmla="*/ 438 w 492"/>
                <a:gd name="T67" fmla="*/ 164 h 216"/>
                <a:gd name="T68" fmla="*/ 452 w 492"/>
                <a:gd name="T69" fmla="*/ 174 h 216"/>
                <a:gd name="T70" fmla="*/ 476 w 492"/>
                <a:gd name="T71" fmla="*/ 156 h 216"/>
                <a:gd name="T72" fmla="*/ 492 w 492"/>
                <a:gd name="T73" fmla="*/ 130 h 216"/>
                <a:gd name="T74" fmla="*/ 492 w 492"/>
                <a:gd name="T75" fmla="*/ 130 h 216"/>
                <a:gd name="T76" fmla="*/ 258 w 492"/>
                <a:gd name="T77" fmla="*/ 5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92" h="216">
                  <a:moveTo>
                    <a:pt x="258" y="50"/>
                  </a:moveTo>
                  <a:lnTo>
                    <a:pt x="214" y="50"/>
                  </a:lnTo>
                  <a:lnTo>
                    <a:pt x="42" y="10"/>
                  </a:lnTo>
                  <a:lnTo>
                    <a:pt x="0" y="0"/>
                  </a:lnTo>
                  <a:lnTo>
                    <a:pt x="26" y="36"/>
                  </a:lnTo>
                  <a:lnTo>
                    <a:pt x="32" y="50"/>
                  </a:lnTo>
                  <a:lnTo>
                    <a:pt x="46" y="60"/>
                  </a:lnTo>
                  <a:lnTo>
                    <a:pt x="52" y="78"/>
                  </a:lnTo>
                  <a:lnTo>
                    <a:pt x="66" y="102"/>
                  </a:lnTo>
                  <a:lnTo>
                    <a:pt x="60" y="120"/>
                  </a:lnTo>
                  <a:lnTo>
                    <a:pt x="72" y="128"/>
                  </a:lnTo>
                  <a:lnTo>
                    <a:pt x="86" y="128"/>
                  </a:lnTo>
                  <a:lnTo>
                    <a:pt x="98" y="128"/>
                  </a:lnTo>
                  <a:lnTo>
                    <a:pt x="114" y="140"/>
                  </a:lnTo>
                  <a:lnTo>
                    <a:pt x="126" y="146"/>
                  </a:lnTo>
                  <a:lnTo>
                    <a:pt x="140" y="156"/>
                  </a:lnTo>
                  <a:lnTo>
                    <a:pt x="168" y="156"/>
                  </a:lnTo>
                  <a:lnTo>
                    <a:pt x="180" y="146"/>
                  </a:lnTo>
                  <a:lnTo>
                    <a:pt x="222" y="120"/>
                  </a:lnTo>
                  <a:lnTo>
                    <a:pt x="236" y="128"/>
                  </a:lnTo>
                  <a:lnTo>
                    <a:pt x="228" y="146"/>
                  </a:lnTo>
                  <a:lnTo>
                    <a:pt x="228" y="164"/>
                  </a:lnTo>
                  <a:lnTo>
                    <a:pt x="236" y="180"/>
                  </a:lnTo>
                  <a:lnTo>
                    <a:pt x="236" y="216"/>
                  </a:lnTo>
                  <a:lnTo>
                    <a:pt x="276" y="216"/>
                  </a:lnTo>
                  <a:lnTo>
                    <a:pt x="288" y="208"/>
                  </a:lnTo>
                  <a:lnTo>
                    <a:pt x="330" y="208"/>
                  </a:lnTo>
                  <a:lnTo>
                    <a:pt x="344" y="216"/>
                  </a:lnTo>
                  <a:lnTo>
                    <a:pt x="368" y="216"/>
                  </a:lnTo>
                  <a:lnTo>
                    <a:pt x="384" y="198"/>
                  </a:lnTo>
                  <a:lnTo>
                    <a:pt x="404" y="190"/>
                  </a:lnTo>
                  <a:lnTo>
                    <a:pt x="418" y="190"/>
                  </a:lnTo>
                  <a:lnTo>
                    <a:pt x="430" y="180"/>
                  </a:lnTo>
                  <a:lnTo>
                    <a:pt x="438" y="164"/>
                  </a:lnTo>
                  <a:lnTo>
                    <a:pt x="452" y="174"/>
                  </a:lnTo>
                  <a:lnTo>
                    <a:pt x="476" y="156"/>
                  </a:lnTo>
                  <a:lnTo>
                    <a:pt x="492" y="130"/>
                  </a:lnTo>
                  <a:lnTo>
                    <a:pt x="492" y="130"/>
                  </a:lnTo>
                  <a:lnTo>
                    <a:pt x="258" y="5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89"/>
            <p:cNvSpPr>
              <a:spLocks/>
            </p:cNvSpPr>
            <p:nvPr/>
          </p:nvSpPr>
          <p:spPr bwMode="auto">
            <a:xfrm>
              <a:off x="483406" y="2010688"/>
              <a:ext cx="1733991" cy="1204825"/>
            </a:xfrm>
            <a:custGeom>
              <a:avLst/>
              <a:gdLst>
                <a:gd name="T0" fmla="*/ 1140 w 1160"/>
                <a:gd name="T1" fmla="*/ 276 h 806"/>
                <a:gd name="T2" fmla="*/ 1100 w 1160"/>
                <a:gd name="T3" fmla="*/ 248 h 806"/>
                <a:gd name="T4" fmla="*/ 1064 w 1160"/>
                <a:gd name="T5" fmla="*/ 240 h 806"/>
                <a:gd name="T6" fmla="*/ 1018 w 1160"/>
                <a:gd name="T7" fmla="*/ 224 h 806"/>
                <a:gd name="T8" fmla="*/ 998 w 1160"/>
                <a:gd name="T9" fmla="*/ 172 h 806"/>
                <a:gd name="T10" fmla="*/ 984 w 1160"/>
                <a:gd name="T11" fmla="*/ 126 h 806"/>
                <a:gd name="T12" fmla="*/ 910 w 1160"/>
                <a:gd name="T13" fmla="*/ 154 h 806"/>
                <a:gd name="T14" fmla="*/ 896 w 1160"/>
                <a:gd name="T15" fmla="*/ 198 h 806"/>
                <a:gd name="T16" fmla="*/ 856 w 1160"/>
                <a:gd name="T17" fmla="*/ 188 h 806"/>
                <a:gd name="T18" fmla="*/ 814 w 1160"/>
                <a:gd name="T19" fmla="*/ 198 h 806"/>
                <a:gd name="T20" fmla="*/ 796 w 1160"/>
                <a:gd name="T21" fmla="*/ 232 h 806"/>
                <a:gd name="T22" fmla="*/ 754 w 1160"/>
                <a:gd name="T23" fmla="*/ 198 h 806"/>
                <a:gd name="T24" fmla="*/ 754 w 1160"/>
                <a:gd name="T25" fmla="*/ 146 h 806"/>
                <a:gd name="T26" fmla="*/ 734 w 1160"/>
                <a:gd name="T27" fmla="*/ 86 h 806"/>
                <a:gd name="T28" fmla="*/ 714 w 1160"/>
                <a:gd name="T29" fmla="*/ 32 h 806"/>
                <a:gd name="T30" fmla="*/ 694 w 1160"/>
                <a:gd name="T31" fmla="*/ 0 h 806"/>
                <a:gd name="T32" fmla="*/ 626 w 1160"/>
                <a:gd name="T33" fmla="*/ 50 h 806"/>
                <a:gd name="T34" fmla="*/ 594 w 1160"/>
                <a:gd name="T35" fmla="*/ 76 h 806"/>
                <a:gd name="T36" fmla="*/ 546 w 1160"/>
                <a:gd name="T37" fmla="*/ 112 h 806"/>
                <a:gd name="T38" fmla="*/ 476 w 1160"/>
                <a:gd name="T39" fmla="*/ 92 h 806"/>
                <a:gd name="T40" fmla="*/ 438 w 1160"/>
                <a:gd name="T41" fmla="*/ 86 h 806"/>
                <a:gd name="T42" fmla="*/ 430 w 1160"/>
                <a:gd name="T43" fmla="*/ 32 h 806"/>
                <a:gd name="T44" fmla="*/ 390 w 1160"/>
                <a:gd name="T45" fmla="*/ 42 h 806"/>
                <a:gd name="T46" fmla="*/ 348 w 1160"/>
                <a:gd name="T47" fmla="*/ 32 h 806"/>
                <a:gd name="T48" fmla="*/ 324 w 1160"/>
                <a:gd name="T49" fmla="*/ 50 h 806"/>
                <a:gd name="T50" fmla="*/ 282 w 1160"/>
                <a:gd name="T51" fmla="*/ 42 h 806"/>
                <a:gd name="T52" fmla="*/ 248 w 1160"/>
                <a:gd name="T53" fmla="*/ 76 h 806"/>
                <a:gd name="T54" fmla="*/ 282 w 1160"/>
                <a:gd name="T55" fmla="*/ 102 h 806"/>
                <a:gd name="T56" fmla="*/ 282 w 1160"/>
                <a:gd name="T57" fmla="*/ 126 h 806"/>
                <a:gd name="T58" fmla="*/ 248 w 1160"/>
                <a:gd name="T59" fmla="*/ 162 h 806"/>
                <a:gd name="T60" fmla="*/ 276 w 1160"/>
                <a:gd name="T61" fmla="*/ 232 h 806"/>
                <a:gd name="T62" fmla="*/ 268 w 1160"/>
                <a:gd name="T63" fmla="*/ 378 h 806"/>
                <a:gd name="T64" fmla="*/ 256 w 1160"/>
                <a:gd name="T65" fmla="*/ 432 h 806"/>
                <a:gd name="T66" fmla="*/ 196 w 1160"/>
                <a:gd name="T67" fmla="*/ 448 h 806"/>
                <a:gd name="T68" fmla="*/ 126 w 1160"/>
                <a:gd name="T69" fmla="*/ 466 h 806"/>
                <a:gd name="T70" fmla="*/ 86 w 1160"/>
                <a:gd name="T71" fmla="*/ 500 h 806"/>
                <a:gd name="T72" fmla="*/ 46 w 1160"/>
                <a:gd name="T73" fmla="*/ 570 h 806"/>
                <a:gd name="T74" fmla="*/ 26 w 1160"/>
                <a:gd name="T75" fmla="*/ 612 h 806"/>
                <a:gd name="T76" fmla="*/ 0 w 1160"/>
                <a:gd name="T77" fmla="*/ 654 h 806"/>
                <a:gd name="T78" fmla="*/ 214 w 1160"/>
                <a:gd name="T79" fmla="*/ 724 h 806"/>
                <a:gd name="T80" fmla="*/ 492 w 1160"/>
                <a:gd name="T81" fmla="*/ 804 h 806"/>
                <a:gd name="T82" fmla="*/ 532 w 1160"/>
                <a:gd name="T83" fmla="*/ 776 h 806"/>
                <a:gd name="T84" fmla="*/ 572 w 1160"/>
                <a:gd name="T85" fmla="*/ 776 h 806"/>
                <a:gd name="T86" fmla="*/ 600 w 1160"/>
                <a:gd name="T87" fmla="*/ 768 h 806"/>
                <a:gd name="T88" fmla="*/ 626 w 1160"/>
                <a:gd name="T89" fmla="*/ 742 h 806"/>
                <a:gd name="T90" fmla="*/ 660 w 1160"/>
                <a:gd name="T91" fmla="*/ 716 h 806"/>
                <a:gd name="T92" fmla="*/ 694 w 1160"/>
                <a:gd name="T93" fmla="*/ 698 h 806"/>
                <a:gd name="T94" fmla="*/ 734 w 1160"/>
                <a:gd name="T95" fmla="*/ 692 h 806"/>
                <a:gd name="T96" fmla="*/ 774 w 1160"/>
                <a:gd name="T97" fmla="*/ 716 h 806"/>
                <a:gd name="T98" fmla="*/ 814 w 1160"/>
                <a:gd name="T99" fmla="*/ 724 h 806"/>
                <a:gd name="T100" fmla="*/ 936 w 1160"/>
                <a:gd name="T101" fmla="*/ 716 h 806"/>
                <a:gd name="T102" fmla="*/ 992 w 1160"/>
                <a:gd name="T103" fmla="*/ 724 h 806"/>
                <a:gd name="T104" fmla="*/ 1032 w 1160"/>
                <a:gd name="T105" fmla="*/ 710 h 806"/>
                <a:gd name="T106" fmla="*/ 1060 w 1160"/>
                <a:gd name="T107" fmla="*/ 632 h 806"/>
                <a:gd name="T108" fmla="*/ 1160 w 1160"/>
                <a:gd name="T109" fmla="*/ 28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60" h="806">
                  <a:moveTo>
                    <a:pt x="1160" y="286"/>
                  </a:moveTo>
                  <a:lnTo>
                    <a:pt x="1160" y="268"/>
                  </a:lnTo>
                  <a:lnTo>
                    <a:pt x="1140" y="276"/>
                  </a:lnTo>
                  <a:lnTo>
                    <a:pt x="1120" y="276"/>
                  </a:lnTo>
                  <a:lnTo>
                    <a:pt x="1106" y="268"/>
                  </a:lnTo>
                  <a:lnTo>
                    <a:pt x="1100" y="248"/>
                  </a:lnTo>
                  <a:lnTo>
                    <a:pt x="1094" y="240"/>
                  </a:lnTo>
                  <a:lnTo>
                    <a:pt x="1080" y="240"/>
                  </a:lnTo>
                  <a:lnTo>
                    <a:pt x="1064" y="240"/>
                  </a:lnTo>
                  <a:lnTo>
                    <a:pt x="1052" y="240"/>
                  </a:lnTo>
                  <a:lnTo>
                    <a:pt x="1032" y="232"/>
                  </a:lnTo>
                  <a:lnTo>
                    <a:pt x="1018" y="224"/>
                  </a:lnTo>
                  <a:lnTo>
                    <a:pt x="1018" y="208"/>
                  </a:lnTo>
                  <a:lnTo>
                    <a:pt x="1004" y="188"/>
                  </a:lnTo>
                  <a:lnTo>
                    <a:pt x="998" y="172"/>
                  </a:lnTo>
                  <a:lnTo>
                    <a:pt x="992" y="154"/>
                  </a:lnTo>
                  <a:lnTo>
                    <a:pt x="984" y="136"/>
                  </a:lnTo>
                  <a:lnTo>
                    <a:pt x="984" y="126"/>
                  </a:lnTo>
                  <a:lnTo>
                    <a:pt x="930" y="126"/>
                  </a:lnTo>
                  <a:lnTo>
                    <a:pt x="916" y="136"/>
                  </a:lnTo>
                  <a:lnTo>
                    <a:pt x="910" y="154"/>
                  </a:lnTo>
                  <a:lnTo>
                    <a:pt x="904" y="172"/>
                  </a:lnTo>
                  <a:lnTo>
                    <a:pt x="890" y="180"/>
                  </a:lnTo>
                  <a:lnTo>
                    <a:pt x="896" y="198"/>
                  </a:lnTo>
                  <a:lnTo>
                    <a:pt x="882" y="208"/>
                  </a:lnTo>
                  <a:lnTo>
                    <a:pt x="870" y="208"/>
                  </a:lnTo>
                  <a:lnTo>
                    <a:pt x="856" y="188"/>
                  </a:lnTo>
                  <a:lnTo>
                    <a:pt x="842" y="188"/>
                  </a:lnTo>
                  <a:lnTo>
                    <a:pt x="828" y="188"/>
                  </a:lnTo>
                  <a:lnTo>
                    <a:pt x="814" y="198"/>
                  </a:lnTo>
                  <a:lnTo>
                    <a:pt x="808" y="214"/>
                  </a:lnTo>
                  <a:lnTo>
                    <a:pt x="802" y="232"/>
                  </a:lnTo>
                  <a:lnTo>
                    <a:pt x="796" y="232"/>
                  </a:lnTo>
                  <a:lnTo>
                    <a:pt x="782" y="224"/>
                  </a:lnTo>
                  <a:lnTo>
                    <a:pt x="768" y="214"/>
                  </a:lnTo>
                  <a:lnTo>
                    <a:pt x="754" y="198"/>
                  </a:lnTo>
                  <a:lnTo>
                    <a:pt x="754" y="180"/>
                  </a:lnTo>
                  <a:lnTo>
                    <a:pt x="762" y="162"/>
                  </a:lnTo>
                  <a:lnTo>
                    <a:pt x="754" y="146"/>
                  </a:lnTo>
                  <a:lnTo>
                    <a:pt x="754" y="112"/>
                  </a:lnTo>
                  <a:lnTo>
                    <a:pt x="746" y="92"/>
                  </a:lnTo>
                  <a:lnTo>
                    <a:pt x="734" y="86"/>
                  </a:lnTo>
                  <a:lnTo>
                    <a:pt x="720" y="68"/>
                  </a:lnTo>
                  <a:lnTo>
                    <a:pt x="720" y="50"/>
                  </a:lnTo>
                  <a:lnTo>
                    <a:pt x="714" y="32"/>
                  </a:lnTo>
                  <a:lnTo>
                    <a:pt x="708" y="16"/>
                  </a:lnTo>
                  <a:lnTo>
                    <a:pt x="708" y="0"/>
                  </a:lnTo>
                  <a:lnTo>
                    <a:pt x="694" y="0"/>
                  </a:lnTo>
                  <a:lnTo>
                    <a:pt x="666" y="16"/>
                  </a:lnTo>
                  <a:lnTo>
                    <a:pt x="640" y="16"/>
                  </a:lnTo>
                  <a:lnTo>
                    <a:pt x="626" y="50"/>
                  </a:lnTo>
                  <a:lnTo>
                    <a:pt x="618" y="68"/>
                  </a:lnTo>
                  <a:lnTo>
                    <a:pt x="608" y="68"/>
                  </a:lnTo>
                  <a:lnTo>
                    <a:pt x="594" y="76"/>
                  </a:lnTo>
                  <a:lnTo>
                    <a:pt x="580" y="76"/>
                  </a:lnTo>
                  <a:lnTo>
                    <a:pt x="572" y="92"/>
                  </a:lnTo>
                  <a:lnTo>
                    <a:pt x="546" y="112"/>
                  </a:lnTo>
                  <a:lnTo>
                    <a:pt x="532" y="102"/>
                  </a:lnTo>
                  <a:lnTo>
                    <a:pt x="490" y="102"/>
                  </a:lnTo>
                  <a:lnTo>
                    <a:pt x="476" y="92"/>
                  </a:lnTo>
                  <a:lnTo>
                    <a:pt x="464" y="86"/>
                  </a:lnTo>
                  <a:lnTo>
                    <a:pt x="452" y="86"/>
                  </a:lnTo>
                  <a:lnTo>
                    <a:pt x="438" y="86"/>
                  </a:lnTo>
                  <a:lnTo>
                    <a:pt x="430" y="68"/>
                  </a:lnTo>
                  <a:lnTo>
                    <a:pt x="430" y="50"/>
                  </a:lnTo>
                  <a:lnTo>
                    <a:pt x="430" y="32"/>
                  </a:lnTo>
                  <a:lnTo>
                    <a:pt x="418" y="16"/>
                  </a:lnTo>
                  <a:lnTo>
                    <a:pt x="404" y="32"/>
                  </a:lnTo>
                  <a:lnTo>
                    <a:pt x="390" y="42"/>
                  </a:lnTo>
                  <a:lnTo>
                    <a:pt x="378" y="42"/>
                  </a:lnTo>
                  <a:lnTo>
                    <a:pt x="362" y="32"/>
                  </a:lnTo>
                  <a:lnTo>
                    <a:pt x="348" y="32"/>
                  </a:lnTo>
                  <a:lnTo>
                    <a:pt x="344" y="50"/>
                  </a:lnTo>
                  <a:lnTo>
                    <a:pt x="336" y="50"/>
                  </a:lnTo>
                  <a:lnTo>
                    <a:pt x="324" y="50"/>
                  </a:lnTo>
                  <a:lnTo>
                    <a:pt x="310" y="50"/>
                  </a:lnTo>
                  <a:lnTo>
                    <a:pt x="296" y="42"/>
                  </a:lnTo>
                  <a:lnTo>
                    <a:pt x="282" y="42"/>
                  </a:lnTo>
                  <a:lnTo>
                    <a:pt x="268" y="42"/>
                  </a:lnTo>
                  <a:lnTo>
                    <a:pt x="256" y="60"/>
                  </a:lnTo>
                  <a:lnTo>
                    <a:pt x="248" y="76"/>
                  </a:lnTo>
                  <a:lnTo>
                    <a:pt x="256" y="92"/>
                  </a:lnTo>
                  <a:lnTo>
                    <a:pt x="268" y="92"/>
                  </a:lnTo>
                  <a:lnTo>
                    <a:pt x="282" y="102"/>
                  </a:lnTo>
                  <a:lnTo>
                    <a:pt x="296" y="102"/>
                  </a:lnTo>
                  <a:lnTo>
                    <a:pt x="296" y="120"/>
                  </a:lnTo>
                  <a:lnTo>
                    <a:pt x="282" y="126"/>
                  </a:lnTo>
                  <a:lnTo>
                    <a:pt x="268" y="120"/>
                  </a:lnTo>
                  <a:lnTo>
                    <a:pt x="240" y="146"/>
                  </a:lnTo>
                  <a:lnTo>
                    <a:pt x="248" y="162"/>
                  </a:lnTo>
                  <a:lnTo>
                    <a:pt x="248" y="180"/>
                  </a:lnTo>
                  <a:lnTo>
                    <a:pt x="256" y="198"/>
                  </a:lnTo>
                  <a:lnTo>
                    <a:pt x="276" y="232"/>
                  </a:lnTo>
                  <a:lnTo>
                    <a:pt x="276" y="308"/>
                  </a:lnTo>
                  <a:lnTo>
                    <a:pt x="268" y="336"/>
                  </a:lnTo>
                  <a:lnTo>
                    <a:pt x="268" y="378"/>
                  </a:lnTo>
                  <a:lnTo>
                    <a:pt x="262" y="396"/>
                  </a:lnTo>
                  <a:lnTo>
                    <a:pt x="262" y="414"/>
                  </a:lnTo>
                  <a:lnTo>
                    <a:pt x="256" y="432"/>
                  </a:lnTo>
                  <a:lnTo>
                    <a:pt x="228" y="448"/>
                  </a:lnTo>
                  <a:lnTo>
                    <a:pt x="216" y="448"/>
                  </a:lnTo>
                  <a:lnTo>
                    <a:pt x="196" y="448"/>
                  </a:lnTo>
                  <a:lnTo>
                    <a:pt x="180" y="456"/>
                  </a:lnTo>
                  <a:lnTo>
                    <a:pt x="168" y="466"/>
                  </a:lnTo>
                  <a:lnTo>
                    <a:pt x="126" y="466"/>
                  </a:lnTo>
                  <a:lnTo>
                    <a:pt x="114" y="476"/>
                  </a:lnTo>
                  <a:lnTo>
                    <a:pt x="98" y="492"/>
                  </a:lnTo>
                  <a:lnTo>
                    <a:pt x="86" y="500"/>
                  </a:lnTo>
                  <a:lnTo>
                    <a:pt x="72" y="518"/>
                  </a:lnTo>
                  <a:lnTo>
                    <a:pt x="52" y="552"/>
                  </a:lnTo>
                  <a:lnTo>
                    <a:pt x="46" y="570"/>
                  </a:lnTo>
                  <a:lnTo>
                    <a:pt x="46" y="586"/>
                  </a:lnTo>
                  <a:lnTo>
                    <a:pt x="38" y="612"/>
                  </a:lnTo>
                  <a:lnTo>
                    <a:pt x="26" y="612"/>
                  </a:lnTo>
                  <a:lnTo>
                    <a:pt x="12" y="622"/>
                  </a:lnTo>
                  <a:lnTo>
                    <a:pt x="4" y="640"/>
                  </a:lnTo>
                  <a:lnTo>
                    <a:pt x="0" y="654"/>
                  </a:lnTo>
                  <a:lnTo>
                    <a:pt x="0" y="674"/>
                  </a:lnTo>
                  <a:lnTo>
                    <a:pt x="42" y="684"/>
                  </a:lnTo>
                  <a:lnTo>
                    <a:pt x="214" y="724"/>
                  </a:lnTo>
                  <a:lnTo>
                    <a:pt x="258" y="724"/>
                  </a:lnTo>
                  <a:lnTo>
                    <a:pt x="496" y="806"/>
                  </a:lnTo>
                  <a:lnTo>
                    <a:pt x="492" y="804"/>
                  </a:lnTo>
                  <a:lnTo>
                    <a:pt x="512" y="776"/>
                  </a:lnTo>
                  <a:lnTo>
                    <a:pt x="518" y="776"/>
                  </a:lnTo>
                  <a:lnTo>
                    <a:pt x="532" y="776"/>
                  </a:lnTo>
                  <a:lnTo>
                    <a:pt x="546" y="776"/>
                  </a:lnTo>
                  <a:lnTo>
                    <a:pt x="562" y="788"/>
                  </a:lnTo>
                  <a:lnTo>
                    <a:pt x="572" y="776"/>
                  </a:lnTo>
                  <a:lnTo>
                    <a:pt x="584" y="776"/>
                  </a:lnTo>
                  <a:lnTo>
                    <a:pt x="590" y="788"/>
                  </a:lnTo>
                  <a:lnTo>
                    <a:pt x="600" y="768"/>
                  </a:lnTo>
                  <a:lnTo>
                    <a:pt x="608" y="752"/>
                  </a:lnTo>
                  <a:lnTo>
                    <a:pt x="612" y="734"/>
                  </a:lnTo>
                  <a:lnTo>
                    <a:pt x="626" y="742"/>
                  </a:lnTo>
                  <a:lnTo>
                    <a:pt x="640" y="742"/>
                  </a:lnTo>
                  <a:lnTo>
                    <a:pt x="654" y="734"/>
                  </a:lnTo>
                  <a:lnTo>
                    <a:pt x="660" y="716"/>
                  </a:lnTo>
                  <a:lnTo>
                    <a:pt x="666" y="698"/>
                  </a:lnTo>
                  <a:lnTo>
                    <a:pt x="680" y="692"/>
                  </a:lnTo>
                  <a:lnTo>
                    <a:pt x="694" y="698"/>
                  </a:lnTo>
                  <a:lnTo>
                    <a:pt x="708" y="682"/>
                  </a:lnTo>
                  <a:lnTo>
                    <a:pt x="720" y="692"/>
                  </a:lnTo>
                  <a:lnTo>
                    <a:pt x="734" y="692"/>
                  </a:lnTo>
                  <a:lnTo>
                    <a:pt x="746" y="698"/>
                  </a:lnTo>
                  <a:lnTo>
                    <a:pt x="762" y="710"/>
                  </a:lnTo>
                  <a:lnTo>
                    <a:pt x="774" y="716"/>
                  </a:lnTo>
                  <a:lnTo>
                    <a:pt x="788" y="716"/>
                  </a:lnTo>
                  <a:lnTo>
                    <a:pt x="802" y="716"/>
                  </a:lnTo>
                  <a:lnTo>
                    <a:pt x="814" y="724"/>
                  </a:lnTo>
                  <a:lnTo>
                    <a:pt x="896" y="724"/>
                  </a:lnTo>
                  <a:lnTo>
                    <a:pt x="916" y="716"/>
                  </a:lnTo>
                  <a:lnTo>
                    <a:pt x="936" y="716"/>
                  </a:lnTo>
                  <a:lnTo>
                    <a:pt x="956" y="724"/>
                  </a:lnTo>
                  <a:lnTo>
                    <a:pt x="970" y="724"/>
                  </a:lnTo>
                  <a:lnTo>
                    <a:pt x="992" y="724"/>
                  </a:lnTo>
                  <a:lnTo>
                    <a:pt x="1012" y="716"/>
                  </a:lnTo>
                  <a:lnTo>
                    <a:pt x="1026" y="716"/>
                  </a:lnTo>
                  <a:lnTo>
                    <a:pt x="1032" y="710"/>
                  </a:lnTo>
                  <a:lnTo>
                    <a:pt x="1032" y="692"/>
                  </a:lnTo>
                  <a:lnTo>
                    <a:pt x="1054" y="640"/>
                  </a:lnTo>
                  <a:lnTo>
                    <a:pt x="1060" y="632"/>
                  </a:lnTo>
                  <a:lnTo>
                    <a:pt x="1038" y="594"/>
                  </a:lnTo>
                  <a:lnTo>
                    <a:pt x="1038" y="578"/>
                  </a:lnTo>
                  <a:lnTo>
                    <a:pt x="1160" y="286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90"/>
            <p:cNvSpPr>
              <a:spLocks/>
            </p:cNvSpPr>
            <p:nvPr/>
          </p:nvSpPr>
          <p:spPr bwMode="auto">
            <a:xfrm>
              <a:off x="3993244" y="3248399"/>
              <a:ext cx="185358" cy="146492"/>
            </a:xfrm>
            <a:custGeom>
              <a:avLst/>
              <a:gdLst>
                <a:gd name="T0" fmla="*/ 120 w 124"/>
                <a:gd name="T1" fmla="*/ 30 h 98"/>
                <a:gd name="T2" fmla="*/ 118 w 124"/>
                <a:gd name="T3" fmla="*/ 30 h 98"/>
                <a:gd name="T4" fmla="*/ 114 w 124"/>
                <a:gd name="T5" fmla="*/ 26 h 98"/>
                <a:gd name="T6" fmla="*/ 110 w 124"/>
                <a:gd name="T7" fmla="*/ 24 h 98"/>
                <a:gd name="T8" fmla="*/ 104 w 124"/>
                <a:gd name="T9" fmla="*/ 20 h 98"/>
                <a:gd name="T10" fmla="*/ 96 w 124"/>
                <a:gd name="T11" fmla="*/ 16 h 98"/>
                <a:gd name="T12" fmla="*/ 90 w 124"/>
                <a:gd name="T13" fmla="*/ 12 h 98"/>
                <a:gd name="T14" fmla="*/ 84 w 124"/>
                <a:gd name="T15" fmla="*/ 8 h 98"/>
                <a:gd name="T16" fmla="*/ 78 w 124"/>
                <a:gd name="T17" fmla="*/ 8 h 98"/>
                <a:gd name="T18" fmla="*/ 76 w 124"/>
                <a:gd name="T19" fmla="*/ 8 h 98"/>
                <a:gd name="T20" fmla="*/ 74 w 124"/>
                <a:gd name="T21" fmla="*/ 8 h 98"/>
                <a:gd name="T22" fmla="*/ 72 w 124"/>
                <a:gd name="T23" fmla="*/ 8 h 98"/>
                <a:gd name="T24" fmla="*/ 70 w 124"/>
                <a:gd name="T25" fmla="*/ 10 h 98"/>
                <a:gd name="T26" fmla="*/ 66 w 124"/>
                <a:gd name="T27" fmla="*/ 10 h 98"/>
                <a:gd name="T28" fmla="*/ 64 w 124"/>
                <a:gd name="T29" fmla="*/ 12 h 98"/>
                <a:gd name="T30" fmla="*/ 60 w 124"/>
                <a:gd name="T31" fmla="*/ 12 h 98"/>
                <a:gd name="T32" fmla="*/ 58 w 124"/>
                <a:gd name="T33" fmla="*/ 12 h 98"/>
                <a:gd name="T34" fmla="*/ 54 w 124"/>
                <a:gd name="T35" fmla="*/ 12 h 98"/>
                <a:gd name="T36" fmla="*/ 48 w 124"/>
                <a:gd name="T37" fmla="*/ 10 h 98"/>
                <a:gd name="T38" fmla="*/ 44 w 124"/>
                <a:gd name="T39" fmla="*/ 8 h 98"/>
                <a:gd name="T40" fmla="*/ 40 w 124"/>
                <a:gd name="T41" fmla="*/ 6 h 98"/>
                <a:gd name="T42" fmla="*/ 36 w 124"/>
                <a:gd name="T43" fmla="*/ 4 h 98"/>
                <a:gd name="T44" fmla="*/ 32 w 124"/>
                <a:gd name="T45" fmla="*/ 2 h 98"/>
                <a:gd name="T46" fmla="*/ 30 w 124"/>
                <a:gd name="T47" fmla="*/ 2 h 98"/>
                <a:gd name="T48" fmla="*/ 28 w 124"/>
                <a:gd name="T49" fmla="*/ 0 h 98"/>
                <a:gd name="T50" fmla="*/ 22 w 124"/>
                <a:gd name="T51" fmla="*/ 28 h 98"/>
                <a:gd name="T52" fmla="*/ 0 w 124"/>
                <a:gd name="T53" fmla="*/ 46 h 98"/>
                <a:gd name="T54" fmla="*/ 8 w 124"/>
                <a:gd name="T55" fmla="*/ 82 h 98"/>
                <a:gd name="T56" fmla="*/ 34 w 124"/>
                <a:gd name="T57" fmla="*/ 98 h 98"/>
                <a:gd name="T58" fmla="*/ 52 w 124"/>
                <a:gd name="T59" fmla="*/ 98 h 98"/>
                <a:gd name="T60" fmla="*/ 62 w 124"/>
                <a:gd name="T61" fmla="*/ 82 h 98"/>
                <a:gd name="T62" fmla="*/ 90 w 124"/>
                <a:gd name="T63" fmla="*/ 50 h 98"/>
                <a:gd name="T64" fmla="*/ 112 w 124"/>
                <a:gd name="T65" fmla="*/ 40 h 98"/>
                <a:gd name="T66" fmla="*/ 124 w 124"/>
                <a:gd name="T67" fmla="*/ 2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4" h="98">
                  <a:moveTo>
                    <a:pt x="124" y="28"/>
                  </a:moveTo>
                  <a:lnTo>
                    <a:pt x="120" y="3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2" y="26"/>
                  </a:lnTo>
                  <a:lnTo>
                    <a:pt x="110" y="24"/>
                  </a:lnTo>
                  <a:lnTo>
                    <a:pt x="106" y="22"/>
                  </a:lnTo>
                  <a:lnTo>
                    <a:pt x="104" y="20"/>
                  </a:lnTo>
                  <a:lnTo>
                    <a:pt x="100" y="18"/>
                  </a:lnTo>
                  <a:lnTo>
                    <a:pt x="96" y="16"/>
                  </a:lnTo>
                  <a:lnTo>
                    <a:pt x="92" y="14"/>
                  </a:lnTo>
                  <a:lnTo>
                    <a:pt x="90" y="12"/>
                  </a:lnTo>
                  <a:lnTo>
                    <a:pt x="86" y="10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2" y="8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0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8" y="12"/>
                  </a:lnTo>
                  <a:lnTo>
                    <a:pt x="22" y="28"/>
                  </a:lnTo>
                  <a:lnTo>
                    <a:pt x="14" y="46"/>
                  </a:lnTo>
                  <a:lnTo>
                    <a:pt x="0" y="46"/>
                  </a:lnTo>
                  <a:lnTo>
                    <a:pt x="0" y="62"/>
                  </a:lnTo>
                  <a:lnTo>
                    <a:pt x="8" y="82"/>
                  </a:lnTo>
                  <a:lnTo>
                    <a:pt x="22" y="90"/>
                  </a:lnTo>
                  <a:lnTo>
                    <a:pt x="34" y="98"/>
                  </a:lnTo>
                  <a:lnTo>
                    <a:pt x="48" y="98"/>
                  </a:lnTo>
                  <a:lnTo>
                    <a:pt x="52" y="98"/>
                  </a:lnTo>
                  <a:lnTo>
                    <a:pt x="56" y="98"/>
                  </a:lnTo>
                  <a:lnTo>
                    <a:pt x="62" y="82"/>
                  </a:lnTo>
                  <a:lnTo>
                    <a:pt x="78" y="62"/>
                  </a:lnTo>
                  <a:lnTo>
                    <a:pt x="90" y="50"/>
                  </a:lnTo>
                  <a:lnTo>
                    <a:pt x="104" y="46"/>
                  </a:lnTo>
                  <a:lnTo>
                    <a:pt x="112" y="40"/>
                  </a:lnTo>
                  <a:lnTo>
                    <a:pt x="110" y="38"/>
                  </a:lnTo>
                  <a:lnTo>
                    <a:pt x="124" y="28"/>
                  </a:lnTo>
                  <a:lnTo>
                    <a:pt x="124" y="28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91"/>
            <p:cNvSpPr>
              <a:spLocks/>
            </p:cNvSpPr>
            <p:nvPr/>
          </p:nvSpPr>
          <p:spPr bwMode="auto">
            <a:xfrm>
              <a:off x="2531310" y="3469632"/>
              <a:ext cx="708545" cy="681638"/>
            </a:xfrm>
            <a:custGeom>
              <a:avLst/>
              <a:gdLst>
                <a:gd name="T0" fmla="*/ 386 w 474"/>
                <a:gd name="T1" fmla="*/ 286 h 456"/>
                <a:gd name="T2" fmla="*/ 366 w 474"/>
                <a:gd name="T3" fmla="*/ 252 h 456"/>
                <a:gd name="T4" fmla="*/ 386 w 474"/>
                <a:gd name="T5" fmla="*/ 216 h 456"/>
                <a:gd name="T6" fmla="*/ 412 w 474"/>
                <a:gd name="T7" fmla="*/ 198 h 456"/>
                <a:gd name="T8" fmla="*/ 412 w 474"/>
                <a:gd name="T9" fmla="*/ 166 h 456"/>
                <a:gd name="T10" fmla="*/ 426 w 474"/>
                <a:gd name="T11" fmla="*/ 148 h 456"/>
                <a:gd name="T12" fmla="*/ 454 w 474"/>
                <a:gd name="T13" fmla="*/ 156 h 456"/>
                <a:gd name="T14" fmla="*/ 454 w 474"/>
                <a:gd name="T15" fmla="*/ 156 h 456"/>
                <a:gd name="T16" fmla="*/ 474 w 474"/>
                <a:gd name="T17" fmla="*/ 132 h 456"/>
                <a:gd name="T18" fmla="*/ 462 w 474"/>
                <a:gd name="T19" fmla="*/ 104 h 456"/>
                <a:gd name="T20" fmla="*/ 446 w 474"/>
                <a:gd name="T21" fmla="*/ 80 h 456"/>
                <a:gd name="T22" fmla="*/ 446 w 474"/>
                <a:gd name="T23" fmla="*/ 66 h 456"/>
                <a:gd name="T24" fmla="*/ 364 w 474"/>
                <a:gd name="T25" fmla="*/ 46 h 456"/>
                <a:gd name="T26" fmla="*/ 288 w 474"/>
                <a:gd name="T27" fmla="*/ 54 h 456"/>
                <a:gd name="T28" fmla="*/ 254 w 474"/>
                <a:gd name="T29" fmla="*/ 28 h 456"/>
                <a:gd name="T30" fmla="*/ 170 w 474"/>
                <a:gd name="T31" fmla="*/ 12 h 456"/>
                <a:gd name="T32" fmla="*/ 168 w 474"/>
                <a:gd name="T33" fmla="*/ 26 h 456"/>
                <a:gd name="T34" fmla="*/ 162 w 474"/>
                <a:gd name="T35" fmla="*/ 62 h 456"/>
                <a:gd name="T36" fmla="*/ 148 w 474"/>
                <a:gd name="T37" fmla="*/ 96 h 456"/>
                <a:gd name="T38" fmla="*/ 142 w 474"/>
                <a:gd name="T39" fmla="*/ 132 h 456"/>
                <a:gd name="T40" fmla="*/ 120 w 474"/>
                <a:gd name="T41" fmla="*/ 148 h 456"/>
                <a:gd name="T42" fmla="*/ 96 w 474"/>
                <a:gd name="T43" fmla="*/ 174 h 456"/>
                <a:gd name="T44" fmla="*/ 82 w 474"/>
                <a:gd name="T45" fmla="*/ 200 h 456"/>
                <a:gd name="T46" fmla="*/ 54 w 474"/>
                <a:gd name="T47" fmla="*/ 208 h 456"/>
                <a:gd name="T48" fmla="*/ 40 w 474"/>
                <a:gd name="T49" fmla="*/ 244 h 456"/>
                <a:gd name="T50" fmla="*/ 20 w 474"/>
                <a:gd name="T51" fmla="*/ 278 h 456"/>
                <a:gd name="T52" fmla="*/ 0 w 474"/>
                <a:gd name="T53" fmla="*/ 312 h 456"/>
                <a:gd name="T54" fmla="*/ 0 w 474"/>
                <a:gd name="T55" fmla="*/ 346 h 456"/>
                <a:gd name="T56" fmla="*/ 0 w 474"/>
                <a:gd name="T57" fmla="*/ 356 h 456"/>
                <a:gd name="T58" fmla="*/ 28 w 474"/>
                <a:gd name="T59" fmla="*/ 382 h 456"/>
                <a:gd name="T60" fmla="*/ 56 w 474"/>
                <a:gd name="T61" fmla="*/ 390 h 456"/>
                <a:gd name="T62" fmla="*/ 84 w 474"/>
                <a:gd name="T63" fmla="*/ 416 h 456"/>
                <a:gd name="T64" fmla="*/ 110 w 474"/>
                <a:gd name="T65" fmla="*/ 416 h 456"/>
                <a:gd name="T66" fmla="*/ 136 w 474"/>
                <a:gd name="T67" fmla="*/ 426 h 456"/>
                <a:gd name="T68" fmla="*/ 138 w 474"/>
                <a:gd name="T69" fmla="*/ 456 h 456"/>
                <a:gd name="T70" fmla="*/ 154 w 474"/>
                <a:gd name="T71" fmla="*/ 440 h 456"/>
                <a:gd name="T72" fmla="*/ 168 w 474"/>
                <a:gd name="T73" fmla="*/ 408 h 456"/>
                <a:gd name="T74" fmla="*/ 196 w 474"/>
                <a:gd name="T75" fmla="*/ 392 h 456"/>
                <a:gd name="T76" fmla="*/ 224 w 474"/>
                <a:gd name="T77" fmla="*/ 382 h 456"/>
                <a:gd name="T78" fmla="*/ 250 w 474"/>
                <a:gd name="T79" fmla="*/ 392 h 456"/>
                <a:gd name="T80" fmla="*/ 278 w 474"/>
                <a:gd name="T81" fmla="*/ 382 h 456"/>
                <a:gd name="T82" fmla="*/ 304 w 474"/>
                <a:gd name="T83" fmla="*/ 382 h 456"/>
                <a:gd name="T84" fmla="*/ 352 w 474"/>
                <a:gd name="T85" fmla="*/ 372 h 456"/>
                <a:gd name="T86" fmla="*/ 372 w 474"/>
                <a:gd name="T87" fmla="*/ 346 h 456"/>
                <a:gd name="T88" fmla="*/ 366 w 474"/>
                <a:gd name="T89" fmla="*/ 32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4" h="456">
                  <a:moveTo>
                    <a:pt x="372" y="304"/>
                  </a:moveTo>
                  <a:lnTo>
                    <a:pt x="386" y="286"/>
                  </a:lnTo>
                  <a:lnTo>
                    <a:pt x="372" y="268"/>
                  </a:lnTo>
                  <a:lnTo>
                    <a:pt x="366" y="252"/>
                  </a:lnTo>
                  <a:lnTo>
                    <a:pt x="372" y="234"/>
                  </a:lnTo>
                  <a:lnTo>
                    <a:pt x="386" y="216"/>
                  </a:lnTo>
                  <a:lnTo>
                    <a:pt x="400" y="216"/>
                  </a:lnTo>
                  <a:lnTo>
                    <a:pt x="412" y="198"/>
                  </a:lnTo>
                  <a:lnTo>
                    <a:pt x="412" y="182"/>
                  </a:lnTo>
                  <a:lnTo>
                    <a:pt x="412" y="166"/>
                  </a:lnTo>
                  <a:lnTo>
                    <a:pt x="426" y="166"/>
                  </a:lnTo>
                  <a:lnTo>
                    <a:pt x="426" y="148"/>
                  </a:lnTo>
                  <a:lnTo>
                    <a:pt x="440" y="148"/>
                  </a:lnTo>
                  <a:lnTo>
                    <a:pt x="454" y="156"/>
                  </a:lnTo>
                  <a:lnTo>
                    <a:pt x="454" y="156"/>
                  </a:lnTo>
                  <a:lnTo>
                    <a:pt x="454" y="156"/>
                  </a:lnTo>
                  <a:lnTo>
                    <a:pt x="468" y="150"/>
                  </a:lnTo>
                  <a:lnTo>
                    <a:pt x="474" y="132"/>
                  </a:lnTo>
                  <a:lnTo>
                    <a:pt x="474" y="114"/>
                  </a:lnTo>
                  <a:lnTo>
                    <a:pt x="462" y="104"/>
                  </a:lnTo>
                  <a:lnTo>
                    <a:pt x="446" y="96"/>
                  </a:lnTo>
                  <a:lnTo>
                    <a:pt x="446" y="80"/>
                  </a:lnTo>
                  <a:lnTo>
                    <a:pt x="446" y="66"/>
                  </a:lnTo>
                  <a:lnTo>
                    <a:pt x="446" y="66"/>
                  </a:lnTo>
                  <a:lnTo>
                    <a:pt x="406" y="42"/>
                  </a:lnTo>
                  <a:lnTo>
                    <a:pt x="364" y="46"/>
                  </a:lnTo>
                  <a:lnTo>
                    <a:pt x="320" y="28"/>
                  </a:lnTo>
                  <a:lnTo>
                    <a:pt x="288" y="54"/>
                  </a:lnTo>
                  <a:lnTo>
                    <a:pt x="284" y="0"/>
                  </a:lnTo>
                  <a:lnTo>
                    <a:pt x="254" y="28"/>
                  </a:lnTo>
                  <a:lnTo>
                    <a:pt x="206" y="12"/>
                  </a:lnTo>
                  <a:lnTo>
                    <a:pt x="170" y="12"/>
                  </a:lnTo>
                  <a:lnTo>
                    <a:pt x="168" y="12"/>
                  </a:lnTo>
                  <a:lnTo>
                    <a:pt x="168" y="26"/>
                  </a:lnTo>
                  <a:lnTo>
                    <a:pt x="162" y="44"/>
                  </a:lnTo>
                  <a:lnTo>
                    <a:pt x="162" y="62"/>
                  </a:lnTo>
                  <a:lnTo>
                    <a:pt x="162" y="80"/>
                  </a:lnTo>
                  <a:lnTo>
                    <a:pt x="148" y="96"/>
                  </a:lnTo>
                  <a:lnTo>
                    <a:pt x="142" y="114"/>
                  </a:lnTo>
                  <a:lnTo>
                    <a:pt x="142" y="132"/>
                  </a:lnTo>
                  <a:lnTo>
                    <a:pt x="136" y="148"/>
                  </a:lnTo>
                  <a:lnTo>
                    <a:pt x="120" y="148"/>
                  </a:lnTo>
                  <a:lnTo>
                    <a:pt x="108" y="156"/>
                  </a:lnTo>
                  <a:lnTo>
                    <a:pt x="96" y="174"/>
                  </a:lnTo>
                  <a:lnTo>
                    <a:pt x="96" y="190"/>
                  </a:lnTo>
                  <a:lnTo>
                    <a:pt x="82" y="200"/>
                  </a:lnTo>
                  <a:lnTo>
                    <a:pt x="68" y="208"/>
                  </a:lnTo>
                  <a:lnTo>
                    <a:pt x="54" y="208"/>
                  </a:lnTo>
                  <a:lnTo>
                    <a:pt x="48" y="226"/>
                  </a:lnTo>
                  <a:lnTo>
                    <a:pt x="40" y="244"/>
                  </a:lnTo>
                  <a:lnTo>
                    <a:pt x="26" y="260"/>
                  </a:lnTo>
                  <a:lnTo>
                    <a:pt x="20" y="278"/>
                  </a:lnTo>
                  <a:lnTo>
                    <a:pt x="6" y="296"/>
                  </a:lnTo>
                  <a:lnTo>
                    <a:pt x="0" y="312"/>
                  </a:lnTo>
                  <a:lnTo>
                    <a:pt x="6" y="330"/>
                  </a:lnTo>
                  <a:lnTo>
                    <a:pt x="0" y="346"/>
                  </a:lnTo>
                  <a:lnTo>
                    <a:pt x="0" y="346"/>
                  </a:lnTo>
                  <a:lnTo>
                    <a:pt x="0" y="356"/>
                  </a:lnTo>
                  <a:lnTo>
                    <a:pt x="14" y="372"/>
                  </a:lnTo>
                  <a:lnTo>
                    <a:pt x="28" y="382"/>
                  </a:lnTo>
                  <a:lnTo>
                    <a:pt x="40" y="390"/>
                  </a:lnTo>
                  <a:lnTo>
                    <a:pt x="56" y="390"/>
                  </a:lnTo>
                  <a:lnTo>
                    <a:pt x="68" y="400"/>
                  </a:lnTo>
                  <a:lnTo>
                    <a:pt x="84" y="416"/>
                  </a:lnTo>
                  <a:lnTo>
                    <a:pt x="98" y="416"/>
                  </a:lnTo>
                  <a:lnTo>
                    <a:pt x="110" y="416"/>
                  </a:lnTo>
                  <a:lnTo>
                    <a:pt x="122" y="416"/>
                  </a:lnTo>
                  <a:lnTo>
                    <a:pt x="136" y="426"/>
                  </a:lnTo>
                  <a:lnTo>
                    <a:pt x="146" y="442"/>
                  </a:lnTo>
                  <a:lnTo>
                    <a:pt x="138" y="456"/>
                  </a:lnTo>
                  <a:lnTo>
                    <a:pt x="142" y="450"/>
                  </a:lnTo>
                  <a:lnTo>
                    <a:pt x="154" y="440"/>
                  </a:lnTo>
                  <a:lnTo>
                    <a:pt x="154" y="424"/>
                  </a:lnTo>
                  <a:lnTo>
                    <a:pt x="168" y="408"/>
                  </a:lnTo>
                  <a:lnTo>
                    <a:pt x="182" y="398"/>
                  </a:lnTo>
                  <a:lnTo>
                    <a:pt x="196" y="392"/>
                  </a:lnTo>
                  <a:lnTo>
                    <a:pt x="210" y="382"/>
                  </a:lnTo>
                  <a:lnTo>
                    <a:pt x="224" y="382"/>
                  </a:lnTo>
                  <a:lnTo>
                    <a:pt x="236" y="382"/>
                  </a:lnTo>
                  <a:lnTo>
                    <a:pt x="250" y="392"/>
                  </a:lnTo>
                  <a:lnTo>
                    <a:pt x="264" y="382"/>
                  </a:lnTo>
                  <a:lnTo>
                    <a:pt x="278" y="382"/>
                  </a:lnTo>
                  <a:lnTo>
                    <a:pt x="290" y="372"/>
                  </a:lnTo>
                  <a:lnTo>
                    <a:pt x="304" y="382"/>
                  </a:lnTo>
                  <a:lnTo>
                    <a:pt x="330" y="372"/>
                  </a:lnTo>
                  <a:lnTo>
                    <a:pt x="352" y="372"/>
                  </a:lnTo>
                  <a:lnTo>
                    <a:pt x="366" y="364"/>
                  </a:lnTo>
                  <a:lnTo>
                    <a:pt x="372" y="346"/>
                  </a:lnTo>
                  <a:lnTo>
                    <a:pt x="380" y="330"/>
                  </a:lnTo>
                  <a:lnTo>
                    <a:pt x="366" y="320"/>
                  </a:lnTo>
                  <a:lnTo>
                    <a:pt x="372" y="304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50"/>
            <p:cNvSpPr>
              <a:spLocks/>
            </p:cNvSpPr>
            <p:nvPr/>
          </p:nvSpPr>
          <p:spPr bwMode="auto">
            <a:xfrm>
              <a:off x="2369869" y="1795434"/>
              <a:ext cx="484322" cy="529166"/>
            </a:xfrm>
            <a:custGeom>
              <a:avLst/>
              <a:gdLst>
                <a:gd name="T0" fmla="*/ 8 w 324"/>
                <a:gd name="T1" fmla="*/ 126 h 354"/>
                <a:gd name="T2" fmla="*/ 34 w 324"/>
                <a:gd name="T3" fmla="*/ 134 h 354"/>
                <a:gd name="T4" fmla="*/ 62 w 324"/>
                <a:gd name="T5" fmla="*/ 134 h 354"/>
                <a:gd name="T6" fmla="*/ 88 w 324"/>
                <a:gd name="T7" fmla="*/ 126 h 354"/>
                <a:gd name="T8" fmla="*/ 116 w 324"/>
                <a:gd name="T9" fmla="*/ 134 h 354"/>
                <a:gd name="T10" fmla="*/ 142 w 324"/>
                <a:gd name="T11" fmla="*/ 126 h 354"/>
                <a:gd name="T12" fmla="*/ 160 w 324"/>
                <a:gd name="T13" fmla="*/ 110 h 354"/>
                <a:gd name="T14" fmla="*/ 176 w 324"/>
                <a:gd name="T15" fmla="*/ 74 h 354"/>
                <a:gd name="T16" fmla="*/ 184 w 324"/>
                <a:gd name="T17" fmla="*/ 42 h 354"/>
                <a:gd name="T18" fmla="*/ 210 w 324"/>
                <a:gd name="T19" fmla="*/ 24 h 354"/>
                <a:gd name="T20" fmla="*/ 220 w 324"/>
                <a:gd name="T21" fmla="*/ 0 h 354"/>
                <a:gd name="T22" fmla="*/ 244 w 324"/>
                <a:gd name="T23" fmla="*/ 24 h 354"/>
                <a:gd name="T24" fmla="*/ 256 w 324"/>
                <a:gd name="T25" fmla="*/ 58 h 354"/>
                <a:gd name="T26" fmla="*/ 256 w 324"/>
                <a:gd name="T27" fmla="*/ 92 h 354"/>
                <a:gd name="T28" fmla="*/ 270 w 324"/>
                <a:gd name="T29" fmla="*/ 126 h 354"/>
                <a:gd name="T30" fmla="*/ 290 w 324"/>
                <a:gd name="T31" fmla="*/ 160 h 354"/>
                <a:gd name="T32" fmla="*/ 316 w 324"/>
                <a:gd name="T33" fmla="*/ 170 h 354"/>
                <a:gd name="T34" fmla="*/ 316 w 324"/>
                <a:gd name="T35" fmla="*/ 206 h 354"/>
                <a:gd name="T36" fmla="*/ 304 w 324"/>
                <a:gd name="T37" fmla="*/ 230 h 354"/>
                <a:gd name="T38" fmla="*/ 276 w 324"/>
                <a:gd name="T39" fmla="*/ 254 h 354"/>
                <a:gd name="T40" fmla="*/ 250 w 324"/>
                <a:gd name="T41" fmla="*/ 282 h 354"/>
                <a:gd name="T42" fmla="*/ 228 w 324"/>
                <a:gd name="T43" fmla="*/ 308 h 354"/>
                <a:gd name="T44" fmla="*/ 216 w 324"/>
                <a:gd name="T45" fmla="*/ 334 h 354"/>
                <a:gd name="T46" fmla="*/ 188 w 324"/>
                <a:gd name="T47" fmla="*/ 354 h 354"/>
                <a:gd name="T48" fmla="*/ 160 w 324"/>
                <a:gd name="T49" fmla="*/ 334 h 354"/>
                <a:gd name="T50" fmla="*/ 148 w 324"/>
                <a:gd name="T51" fmla="*/ 298 h 354"/>
                <a:gd name="T52" fmla="*/ 120 w 324"/>
                <a:gd name="T53" fmla="*/ 274 h 354"/>
                <a:gd name="T54" fmla="*/ 120 w 324"/>
                <a:gd name="T55" fmla="*/ 238 h 354"/>
                <a:gd name="T56" fmla="*/ 94 w 324"/>
                <a:gd name="T57" fmla="*/ 214 h 354"/>
                <a:gd name="T58" fmla="*/ 76 w 324"/>
                <a:gd name="T59" fmla="*/ 196 h 354"/>
                <a:gd name="T60" fmla="*/ 54 w 324"/>
                <a:gd name="T61" fmla="*/ 176 h 354"/>
                <a:gd name="T62" fmla="*/ 28 w 324"/>
                <a:gd name="T63" fmla="*/ 160 h 354"/>
                <a:gd name="T64" fmla="*/ 14 w 324"/>
                <a:gd name="T65" fmla="*/ 144 h 354"/>
                <a:gd name="T66" fmla="*/ 0 w 324"/>
                <a:gd name="T67" fmla="*/ 126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4" h="354">
                  <a:moveTo>
                    <a:pt x="0" y="126"/>
                  </a:moveTo>
                  <a:lnTo>
                    <a:pt x="8" y="126"/>
                  </a:lnTo>
                  <a:lnTo>
                    <a:pt x="20" y="126"/>
                  </a:lnTo>
                  <a:lnTo>
                    <a:pt x="34" y="134"/>
                  </a:lnTo>
                  <a:lnTo>
                    <a:pt x="48" y="134"/>
                  </a:lnTo>
                  <a:lnTo>
                    <a:pt x="62" y="134"/>
                  </a:lnTo>
                  <a:lnTo>
                    <a:pt x="76" y="126"/>
                  </a:lnTo>
                  <a:lnTo>
                    <a:pt x="88" y="126"/>
                  </a:lnTo>
                  <a:lnTo>
                    <a:pt x="102" y="126"/>
                  </a:lnTo>
                  <a:lnTo>
                    <a:pt x="116" y="134"/>
                  </a:lnTo>
                  <a:lnTo>
                    <a:pt x="130" y="134"/>
                  </a:lnTo>
                  <a:lnTo>
                    <a:pt x="142" y="126"/>
                  </a:lnTo>
                  <a:lnTo>
                    <a:pt x="156" y="126"/>
                  </a:lnTo>
                  <a:lnTo>
                    <a:pt x="160" y="110"/>
                  </a:lnTo>
                  <a:lnTo>
                    <a:pt x="170" y="92"/>
                  </a:lnTo>
                  <a:lnTo>
                    <a:pt x="176" y="74"/>
                  </a:lnTo>
                  <a:lnTo>
                    <a:pt x="184" y="58"/>
                  </a:lnTo>
                  <a:lnTo>
                    <a:pt x="184" y="42"/>
                  </a:lnTo>
                  <a:lnTo>
                    <a:pt x="196" y="24"/>
                  </a:lnTo>
                  <a:lnTo>
                    <a:pt x="210" y="24"/>
                  </a:lnTo>
                  <a:lnTo>
                    <a:pt x="210" y="6"/>
                  </a:lnTo>
                  <a:lnTo>
                    <a:pt x="220" y="0"/>
                  </a:lnTo>
                  <a:lnTo>
                    <a:pt x="238" y="6"/>
                  </a:lnTo>
                  <a:lnTo>
                    <a:pt x="244" y="24"/>
                  </a:lnTo>
                  <a:lnTo>
                    <a:pt x="250" y="42"/>
                  </a:lnTo>
                  <a:lnTo>
                    <a:pt x="256" y="58"/>
                  </a:lnTo>
                  <a:lnTo>
                    <a:pt x="256" y="74"/>
                  </a:lnTo>
                  <a:lnTo>
                    <a:pt x="256" y="92"/>
                  </a:lnTo>
                  <a:lnTo>
                    <a:pt x="262" y="110"/>
                  </a:lnTo>
                  <a:lnTo>
                    <a:pt x="270" y="126"/>
                  </a:lnTo>
                  <a:lnTo>
                    <a:pt x="276" y="144"/>
                  </a:lnTo>
                  <a:lnTo>
                    <a:pt x="290" y="160"/>
                  </a:lnTo>
                  <a:lnTo>
                    <a:pt x="304" y="160"/>
                  </a:lnTo>
                  <a:lnTo>
                    <a:pt x="316" y="170"/>
                  </a:lnTo>
                  <a:lnTo>
                    <a:pt x="324" y="188"/>
                  </a:lnTo>
                  <a:lnTo>
                    <a:pt x="316" y="206"/>
                  </a:lnTo>
                  <a:lnTo>
                    <a:pt x="316" y="222"/>
                  </a:lnTo>
                  <a:lnTo>
                    <a:pt x="304" y="230"/>
                  </a:lnTo>
                  <a:lnTo>
                    <a:pt x="290" y="238"/>
                  </a:lnTo>
                  <a:lnTo>
                    <a:pt x="276" y="254"/>
                  </a:lnTo>
                  <a:lnTo>
                    <a:pt x="262" y="274"/>
                  </a:lnTo>
                  <a:lnTo>
                    <a:pt x="250" y="282"/>
                  </a:lnTo>
                  <a:lnTo>
                    <a:pt x="244" y="298"/>
                  </a:lnTo>
                  <a:lnTo>
                    <a:pt x="228" y="308"/>
                  </a:lnTo>
                  <a:lnTo>
                    <a:pt x="216" y="316"/>
                  </a:lnTo>
                  <a:lnTo>
                    <a:pt x="216" y="334"/>
                  </a:lnTo>
                  <a:lnTo>
                    <a:pt x="202" y="342"/>
                  </a:lnTo>
                  <a:lnTo>
                    <a:pt x="188" y="354"/>
                  </a:lnTo>
                  <a:lnTo>
                    <a:pt x="176" y="354"/>
                  </a:lnTo>
                  <a:lnTo>
                    <a:pt x="160" y="334"/>
                  </a:lnTo>
                  <a:lnTo>
                    <a:pt x="156" y="316"/>
                  </a:lnTo>
                  <a:lnTo>
                    <a:pt x="148" y="298"/>
                  </a:lnTo>
                  <a:lnTo>
                    <a:pt x="136" y="290"/>
                  </a:lnTo>
                  <a:lnTo>
                    <a:pt x="120" y="274"/>
                  </a:lnTo>
                  <a:lnTo>
                    <a:pt x="120" y="254"/>
                  </a:lnTo>
                  <a:lnTo>
                    <a:pt x="120" y="238"/>
                  </a:lnTo>
                  <a:lnTo>
                    <a:pt x="108" y="230"/>
                  </a:lnTo>
                  <a:lnTo>
                    <a:pt x="94" y="214"/>
                  </a:lnTo>
                  <a:lnTo>
                    <a:pt x="88" y="196"/>
                  </a:lnTo>
                  <a:lnTo>
                    <a:pt x="76" y="196"/>
                  </a:lnTo>
                  <a:lnTo>
                    <a:pt x="68" y="176"/>
                  </a:lnTo>
                  <a:lnTo>
                    <a:pt x="54" y="176"/>
                  </a:lnTo>
                  <a:lnTo>
                    <a:pt x="40" y="170"/>
                  </a:lnTo>
                  <a:lnTo>
                    <a:pt x="28" y="160"/>
                  </a:lnTo>
                  <a:lnTo>
                    <a:pt x="14" y="160"/>
                  </a:lnTo>
                  <a:lnTo>
                    <a:pt x="14" y="144"/>
                  </a:lnTo>
                  <a:lnTo>
                    <a:pt x="6" y="126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54"/>
            <p:cNvSpPr>
              <a:spLocks/>
            </p:cNvSpPr>
            <p:nvPr/>
          </p:nvSpPr>
          <p:spPr bwMode="auto">
            <a:xfrm>
              <a:off x="2994704" y="2342538"/>
              <a:ext cx="648752" cy="920809"/>
            </a:xfrm>
            <a:custGeom>
              <a:avLst/>
              <a:gdLst>
                <a:gd name="T0" fmla="*/ 150 w 434"/>
                <a:gd name="T1" fmla="*/ 28 h 616"/>
                <a:gd name="T2" fmla="*/ 142 w 434"/>
                <a:gd name="T3" fmla="*/ 72 h 616"/>
                <a:gd name="T4" fmla="*/ 122 w 434"/>
                <a:gd name="T5" fmla="*/ 96 h 616"/>
                <a:gd name="T6" fmla="*/ 116 w 434"/>
                <a:gd name="T7" fmla="*/ 132 h 616"/>
                <a:gd name="T8" fmla="*/ 104 w 434"/>
                <a:gd name="T9" fmla="*/ 166 h 616"/>
                <a:gd name="T10" fmla="*/ 76 w 434"/>
                <a:gd name="T11" fmla="*/ 192 h 616"/>
                <a:gd name="T12" fmla="*/ 62 w 434"/>
                <a:gd name="T13" fmla="*/ 226 h 616"/>
                <a:gd name="T14" fmla="*/ 34 w 434"/>
                <a:gd name="T15" fmla="*/ 234 h 616"/>
                <a:gd name="T16" fmla="*/ 6 w 434"/>
                <a:gd name="T17" fmla="*/ 252 h 616"/>
                <a:gd name="T18" fmla="*/ 6 w 434"/>
                <a:gd name="T19" fmla="*/ 262 h 616"/>
                <a:gd name="T20" fmla="*/ 28 w 434"/>
                <a:gd name="T21" fmla="*/ 262 h 616"/>
                <a:gd name="T22" fmla="*/ 48 w 434"/>
                <a:gd name="T23" fmla="*/ 278 h 616"/>
                <a:gd name="T24" fmla="*/ 68 w 434"/>
                <a:gd name="T25" fmla="*/ 304 h 616"/>
                <a:gd name="T26" fmla="*/ 68 w 434"/>
                <a:gd name="T27" fmla="*/ 340 h 616"/>
                <a:gd name="T28" fmla="*/ 62 w 434"/>
                <a:gd name="T29" fmla="*/ 372 h 616"/>
                <a:gd name="T30" fmla="*/ 48 w 434"/>
                <a:gd name="T31" fmla="*/ 408 h 616"/>
                <a:gd name="T32" fmla="*/ 76 w 434"/>
                <a:gd name="T33" fmla="*/ 426 h 616"/>
                <a:gd name="T34" fmla="*/ 96 w 434"/>
                <a:gd name="T35" fmla="*/ 450 h 616"/>
                <a:gd name="T36" fmla="*/ 122 w 434"/>
                <a:gd name="T37" fmla="*/ 450 h 616"/>
                <a:gd name="T38" fmla="*/ 116 w 434"/>
                <a:gd name="T39" fmla="*/ 486 h 616"/>
                <a:gd name="T40" fmla="*/ 104 w 434"/>
                <a:gd name="T41" fmla="*/ 510 h 616"/>
                <a:gd name="T42" fmla="*/ 104 w 434"/>
                <a:gd name="T43" fmla="*/ 546 h 616"/>
                <a:gd name="T44" fmla="*/ 122 w 434"/>
                <a:gd name="T45" fmla="*/ 572 h 616"/>
                <a:gd name="T46" fmla="*/ 136 w 434"/>
                <a:gd name="T47" fmla="*/ 600 h 616"/>
                <a:gd name="T48" fmla="*/ 156 w 434"/>
                <a:gd name="T49" fmla="*/ 616 h 616"/>
                <a:gd name="T50" fmla="*/ 176 w 434"/>
                <a:gd name="T51" fmla="*/ 580 h 616"/>
                <a:gd name="T52" fmla="*/ 170 w 434"/>
                <a:gd name="T53" fmla="*/ 546 h 616"/>
                <a:gd name="T54" fmla="*/ 176 w 434"/>
                <a:gd name="T55" fmla="*/ 510 h 616"/>
                <a:gd name="T56" fmla="*/ 190 w 434"/>
                <a:gd name="T57" fmla="*/ 478 h 616"/>
                <a:gd name="T58" fmla="*/ 202 w 434"/>
                <a:gd name="T59" fmla="*/ 434 h 616"/>
                <a:gd name="T60" fmla="*/ 232 w 434"/>
                <a:gd name="T61" fmla="*/ 426 h 616"/>
                <a:gd name="T62" fmla="*/ 258 w 434"/>
                <a:gd name="T63" fmla="*/ 416 h 616"/>
                <a:gd name="T64" fmla="*/ 284 w 434"/>
                <a:gd name="T65" fmla="*/ 390 h 616"/>
                <a:gd name="T66" fmla="*/ 312 w 434"/>
                <a:gd name="T67" fmla="*/ 382 h 616"/>
                <a:gd name="T68" fmla="*/ 346 w 434"/>
                <a:gd name="T69" fmla="*/ 382 h 616"/>
                <a:gd name="T70" fmla="*/ 374 w 434"/>
                <a:gd name="T71" fmla="*/ 372 h 616"/>
                <a:gd name="T72" fmla="*/ 364 w 434"/>
                <a:gd name="T73" fmla="*/ 340 h 616"/>
                <a:gd name="T74" fmla="*/ 358 w 434"/>
                <a:gd name="T75" fmla="*/ 312 h 616"/>
                <a:gd name="T76" fmla="*/ 374 w 434"/>
                <a:gd name="T77" fmla="*/ 278 h 616"/>
                <a:gd name="T78" fmla="*/ 374 w 434"/>
                <a:gd name="T79" fmla="*/ 244 h 616"/>
                <a:gd name="T80" fmla="*/ 358 w 434"/>
                <a:gd name="T81" fmla="*/ 220 h 616"/>
                <a:gd name="T82" fmla="*/ 380 w 434"/>
                <a:gd name="T83" fmla="*/ 184 h 616"/>
                <a:gd name="T84" fmla="*/ 406 w 434"/>
                <a:gd name="T85" fmla="*/ 158 h 616"/>
                <a:gd name="T86" fmla="*/ 434 w 434"/>
                <a:gd name="T87" fmla="*/ 148 h 616"/>
                <a:gd name="T88" fmla="*/ 434 w 434"/>
                <a:gd name="T89" fmla="*/ 124 h 616"/>
                <a:gd name="T90" fmla="*/ 412 w 434"/>
                <a:gd name="T91" fmla="*/ 124 h 616"/>
                <a:gd name="T92" fmla="*/ 388 w 434"/>
                <a:gd name="T93" fmla="*/ 106 h 616"/>
                <a:gd name="T94" fmla="*/ 358 w 434"/>
                <a:gd name="T95" fmla="*/ 96 h 616"/>
                <a:gd name="T96" fmla="*/ 330 w 434"/>
                <a:gd name="T97" fmla="*/ 96 h 616"/>
                <a:gd name="T98" fmla="*/ 306 w 434"/>
                <a:gd name="T99" fmla="*/ 96 h 616"/>
                <a:gd name="T100" fmla="*/ 278 w 434"/>
                <a:gd name="T101" fmla="*/ 114 h 616"/>
                <a:gd name="T102" fmla="*/ 252 w 434"/>
                <a:gd name="T103" fmla="*/ 114 h 616"/>
                <a:gd name="T104" fmla="*/ 252 w 434"/>
                <a:gd name="T105" fmla="*/ 80 h 616"/>
                <a:gd name="T106" fmla="*/ 252 w 434"/>
                <a:gd name="T107" fmla="*/ 46 h 616"/>
                <a:gd name="T108" fmla="*/ 224 w 434"/>
                <a:gd name="T109" fmla="*/ 28 h 616"/>
                <a:gd name="T110" fmla="*/ 196 w 434"/>
                <a:gd name="T111" fmla="*/ 28 h 616"/>
                <a:gd name="T112" fmla="*/ 170 w 434"/>
                <a:gd name="T113" fmla="*/ 2 h 616"/>
                <a:gd name="T114" fmla="*/ 156 w 434"/>
                <a:gd name="T115" fmla="*/ 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4" h="616">
                  <a:moveTo>
                    <a:pt x="156" y="0"/>
                  </a:moveTo>
                  <a:lnTo>
                    <a:pt x="150" y="28"/>
                  </a:lnTo>
                  <a:lnTo>
                    <a:pt x="150" y="54"/>
                  </a:lnTo>
                  <a:lnTo>
                    <a:pt x="142" y="72"/>
                  </a:lnTo>
                  <a:lnTo>
                    <a:pt x="136" y="88"/>
                  </a:lnTo>
                  <a:lnTo>
                    <a:pt x="122" y="96"/>
                  </a:lnTo>
                  <a:lnTo>
                    <a:pt x="116" y="114"/>
                  </a:lnTo>
                  <a:lnTo>
                    <a:pt x="116" y="132"/>
                  </a:lnTo>
                  <a:lnTo>
                    <a:pt x="110" y="148"/>
                  </a:lnTo>
                  <a:lnTo>
                    <a:pt x="104" y="166"/>
                  </a:lnTo>
                  <a:lnTo>
                    <a:pt x="90" y="184"/>
                  </a:lnTo>
                  <a:lnTo>
                    <a:pt x="76" y="192"/>
                  </a:lnTo>
                  <a:lnTo>
                    <a:pt x="68" y="208"/>
                  </a:lnTo>
                  <a:lnTo>
                    <a:pt x="62" y="226"/>
                  </a:lnTo>
                  <a:lnTo>
                    <a:pt x="48" y="226"/>
                  </a:lnTo>
                  <a:lnTo>
                    <a:pt x="34" y="234"/>
                  </a:lnTo>
                  <a:lnTo>
                    <a:pt x="22" y="234"/>
                  </a:lnTo>
                  <a:lnTo>
                    <a:pt x="6" y="252"/>
                  </a:lnTo>
                  <a:lnTo>
                    <a:pt x="0" y="262"/>
                  </a:lnTo>
                  <a:lnTo>
                    <a:pt x="6" y="262"/>
                  </a:lnTo>
                  <a:lnTo>
                    <a:pt x="14" y="262"/>
                  </a:lnTo>
                  <a:lnTo>
                    <a:pt x="28" y="262"/>
                  </a:lnTo>
                  <a:lnTo>
                    <a:pt x="34" y="278"/>
                  </a:lnTo>
                  <a:lnTo>
                    <a:pt x="48" y="278"/>
                  </a:lnTo>
                  <a:lnTo>
                    <a:pt x="62" y="286"/>
                  </a:lnTo>
                  <a:lnTo>
                    <a:pt x="68" y="304"/>
                  </a:lnTo>
                  <a:lnTo>
                    <a:pt x="68" y="322"/>
                  </a:lnTo>
                  <a:lnTo>
                    <a:pt x="68" y="340"/>
                  </a:lnTo>
                  <a:lnTo>
                    <a:pt x="68" y="356"/>
                  </a:lnTo>
                  <a:lnTo>
                    <a:pt x="62" y="372"/>
                  </a:lnTo>
                  <a:lnTo>
                    <a:pt x="54" y="390"/>
                  </a:lnTo>
                  <a:lnTo>
                    <a:pt x="48" y="408"/>
                  </a:lnTo>
                  <a:lnTo>
                    <a:pt x="62" y="416"/>
                  </a:lnTo>
                  <a:lnTo>
                    <a:pt x="76" y="426"/>
                  </a:lnTo>
                  <a:lnTo>
                    <a:pt x="82" y="442"/>
                  </a:lnTo>
                  <a:lnTo>
                    <a:pt x="96" y="450"/>
                  </a:lnTo>
                  <a:lnTo>
                    <a:pt x="110" y="450"/>
                  </a:lnTo>
                  <a:lnTo>
                    <a:pt x="122" y="450"/>
                  </a:lnTo>
                  <a:lnTo>
                    <a:pt x="128" y="468"/>
                  </a:lnTo>
                  <a:lnTo>
                    <a:pt x="116" y="486"/>
                  </a:lnTo>
                  <a:lnTo>
                    <a:pt x="104" y="494"/>
                  </a:lnTo>
                  <a:lnTo>
                    <a:pt x="104" y="510"/>
                  </a:lnTo>
                  <a:lnTo>
                    <a:pt x="96" y="530"/>
                  </a:lnTo>
                  <a:lnTo>
                    <a:pt x="104" y="546"/>
                  </a:lnTo>
                  <a:lnTo>
                    <a:pt x="116" y="554"/>
                  </a:lnTo>
                  <a:lnTo>
                    <a:pt x="122" y="572"/>
                  </a:lnTo>
                  <a:lnTo>
                    <a:pt x="122" y="590"/>
                  </a:lnTo>
                  <a:lnTo>
                    <a:pt x="136" y="600"/>
                  </a:lnTo>
                  <a:lnTo>
                    <a:pt x="142" y="616"/>
                  </a:lnTo>
                  <a:lnTo>
                    <a:pt x="156" y="616"/>
                  </a:lnTo>
                  <a:lnTo>
                    <a:pt x="170" y="600"/>
                  </a:lnTo>
                  <a:lnTo>
                    <a:pt x="176" y="580"/>
                  </a:lnTo>
                  <a:lnTo>
                    <a:pt x="170" y="564"/>
                  </a:lnTo>
                  <a:lnTo>
                    <a:pt x="170" y="546"/>
                  </a:lnTo>
                  <a:lnTo>
                    <a:pt x="162" y="530"/>
                  </a:lnTo>
                  <a:lnTo>
                    <a:pt x="176" y="510"/>
                  </a:lnTo>
                  <a:lnTo>
                    <a:pt x="184" y="494"/>
                  </a:lnTo>
                  <a:lnTo>
                    <a:pt x="190" y="478"/>
                  </a:lnTo>
                  <a:lnTo>
                    <a:pt x="190" y="450"/>
                  </a:lnTo>
                  <a:lnTo>
                    <a:pt x="202" y="434"/>
                  </a:lnTo>
                  <a:lnTo>
                    <a:pt x="218" y="426"/>
                  </a:lnTo>
                  <a:lnTo>
                    <a:pt x="232" y="426"/>
                  </a:lnTo>
                  <a:lnTo>
                    <a:pt x="244" y="416"/>
                  </a:lnTo>
                  <a:lnTo>
                    <a:pt x="258" y="416"/>
                  </a:lnTo>
                  <a:lnTo>
                    <a:pt x="270" y="400"/>
                  </a:lnTo>
                  <a:lnTo>
                    <a:pt x="284" y="390"/>
                  </a:lnTo>
                  <a:lnTo>
                    <a:pt x="298" y="382"/>
                  </a:lnTo>
                  <a:lnTo>
                    <a:pt x="312" y="382"/>
                  </a:lnTo>
                  <a:lnTo>
                    <a:pt x="330" y="390"/>
                  </a:lnTo>
                  <a:lnTo>
                    <a:pt x="346" y="382"/>
                  </a:lnTo>
                  <a:lnTo>
                    <a:pt x="358" y="382"/>
                  </a:lnTo>
                  <a:lnTo>
                    <a:pt x="374" y="372"/>
                  </a:lnTo>
                  <a:lnTo>
                    <a:pt x="374" y="356"/>
                  </a:lnTo>
                  <a:lnTo>
                    <a:pt x="364" y="340"/>
                  </a:lnTo>
                  <a:lnTo>
                    <a:pt x="352" y="330"/>
                  </a:lnTo>
                  <a:lnTo>
                    <a:pt x="358" y="312"/>
                  </a:lnTo>
                  <a:lnTo>
                    <a:pt x="374" y="296"/>
                  </a:lnTo>
                  <a:lnTo>
                    <a:pt x="374" y="278"/>
                  </a:lnTo>
                  <a:lnTo>
                    <a:pt x="374" y="262"/>
                  </a:lnTo>
                  <a:lnTo>
                    <a:pt x="374" y="244"/>
                  </a:lnTo>
                  <a:lnTo>
                    <a:pt x="374" y="226"/>
                  </a:lnTo>
                  <a:lnTo>
                    <a:pt x="358" y="220"/>
                  </a:lnTo>
                  <a:lnTo>
                    <a:pt x="374" y="202"/>
                  </a:lnTo>
                  <a:lnTo>
                    <a:pt x="380" y="184"/>
                  </a:lnTo>
                  <a:lnTo>
                    <a:pt x="392" y="166"/>
                  </a:lnTo>
                  <a:lnTo>
                    <a:pt x="406" y="158"/>
                  </a:lnTo>
                  <a:lnTo>
                    <a:pt x="418" y="158"/>
                  </a:lnTo>
                  <a:lnTo>
                    <a:pt x="434" y="148"/>
                  </a:lnTo>
                  <a:lnTo>
                    <a:pt x="434" y="132"/>
                  </a:lnTo>
                  <a:lnTo>
                    <a:pt x="434" y="124"/>
                  </a:lnTo>
                  <a:lnTo>
                    <a:pt x="426" y="124"/>
                  </a:lnTo>
                  <a:lnTo>
                    <a:pt x="412" y="124"/>
                  </a:lnTo>
                  <a:lnTo>
                    <a:pt x="400" y="114"/>
                  </a:lnTo>
                  <a:lnTo>
                    <a:pt x="388" y="106"/>
                  </a:lnTo>
                  <a:lnTo>
                    <a:pt x="374" y="106"/>
                  </a:lnTo>
                  <a:lnTo>
                    <a:pt x="358" y="96"/>
                  </a:lnTo>
                  <a:lnTo>
                    <a:pt x="346" y="96"/>
                  </a:lnTo>
                  <a:lnTo>
                    <a:pt x="330" y="96"/>
                  </a:lnTo>
                  <a:lnTo>
                    <a:pt x="318" y="96"/>
                  </a:lnTo>
                  <a:lnTo>
                    <a:pt x="306" y="96"/>
                  </a:lnTo>
                  <a:lnTo>
                    <a:pt x="292" y="114"/>
                  </a:lnTo>
                  <a:lnTo>
                    <a:pt x="278" y="114"/>
                  </a:lnTo>
                  <a:lnTo>
                    <a:pt x="264" y="124"/>
                  </a:lnTo>
                  <a:lnTo>
                    <a:pt x="252" y="114"/>
                  </a:lnTo>
                  <a:lnTo>
                    <a:pt x="252" y="96"/>
                  </a:lnTo>
                  <a:lnTo>
                    <a:pt x="252" y="80"/>
                  </a:lnTo>
                  <a:lnTo>
                    <a:pt x="258" y="62"/>
                  </a:lnTo>
                  <a:lnTo>
                    <a:pt x="252" y="46"/>
                  </a:lnTo>
                  <a:lnTo>
                    <a:pt x="238" y="36"/>
                  </a:lnTo>
                  <a:lnTo>
                    <a:pt x="224" y="28"/>
                  </a:lnTo>
                  <a:lnTo>
                    <a:pt x="210" y="28"/>
                  </a:lnTo>
                  <a:lnTo>
                    <a:pt x="196" y="28"/>
                  </a:lnTo>
                  <a:lnTo>
                    <a:pt x="184" y="8"/>
                  </a:lnTo>
                  <a:lnTo>
                    <a:pt x="170" y="2"/>
                  </a:lnTo>
                  <a:lnTo>
                    <a:pt x="154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56"/>
            <p:cNvSpPr>
              <a:spLocks/>
            </p:cNvSpPr>
            <p:nvPr/>
          </p:nvSpPr>
          <p:spPr bwMode="auto">
            <a:xfrm>
              <a:off x="3236865" y="2527896"/>
              <a:ext cx="544115" cy="789265"/>
            </a:xfrm>
            <a:custGeom>
              <a:avLst/>
              <a:gdLst>
                <a:gd name="T0" fmla="*/ 324 w 364"/>
                <a:gd name="T1" fmla="*/ 372 h 528"/>
                <a:gd name="T2" fmla="*/ 350 w 364"/>
                <a:gd name="T3" fmla="*/ 356 h 528"/>
                <a:gd name="T4" fmla="*/ 350 w 364"/>
                <a:gd name="T5" fmla="*/ 320 h 528"/>
                <a:gd name="T6" fmla="*/ 364 w 364"/>
                <a:gd name="T7" fmla="*/ 302 h 528"/>
                <a:gd name="T8" fmla="*/ 356 w 364"/>
                <a:gd name="T9" fmla="*/ 268 h 528"/>
                <a:gd name="T10" fmla="*/ 342 w 364"/>
                <a:gd name="T11" fmla="*/ 242 h 528"/>
                <a:gd name="T12" fmla="*/ 328 w 364"/>
                <a:gd name="T13" fmla="*/ 208 h 528"/>
                <a:gd name="T14" fmla="*/ 328 w 364"/>
                <a:gd name="T15" fmla="*/ 172 h 528"/>
                <a:gd name="T16" fmla="*/ 338 w 364"/>
                <a:gd name="T17" fmla="*/ 138 h 528"/>
                <a:gd name="T18" fmla="*/ 324 w 364"/>
                <a:gd name="T19" fmla="*/ 104 h 528"/>
                <a:gd name="T20" fmla="*/ 324 w 364"/>
                <a:gd name="T21" fmla="*/ 70 h 528"/>
                <a:gd name="T22" fmla="*/ 316 w 364"/>
                <a:gd name="T23" fmla="*/ 34 h 528"/>
                <a:gd name="T24" fmla="*/ 326 w 364"/>
                <a:gd name="T25" fmla="*/ 6 h 528"/>
                <a:gd name="T26" fmla="*/ 316 w 364"/>
                <a:gd name="T27" fmla="*/ 8 h 528"/>
                <a:gd name="T28" fmla="*/ 288 w 364"/>
                <a:gd name="T29" fmla="*/ 0 h 528"/>
                <a:gd name="T30" fmla="*/ 278 w 364"/>
                <a:gd name="T31" fmla="*/ 8 h 528"/>
                <a:gd name="T32" fmla="*/ 260 w 364"/>
                <a:gd name="T33" fmla="*/ 34 h 528"/>
                <a:gd name="T34" fmla="*/ 236 w 364"/>
                <a:gd name="T35" fmla="*/ 42 h 528"/>
                <a:gd name="T36" fmla="*/ 216 w 364"/>
                <a:gd name="T37" fmla="*/ 78 h 528"/>
                <a:gd name="T38" fmla="*/ 216 w 364"/>
                <a:gd name="T39" fmla="*/ 104 h 528"/>
                <a:gd name="T40" fmla="*/ 216 w 364"/>
                <a:gd name="T41" fmla="*/ 138 h 528"/>
                <a:gd name="T42" fmla="*/ 216 w 364"/>
                <a:gd name="T43" fmla="*/ 172 h 528"/>
                <a:gd name="T44" fmla="*/ 194 w 364"/>
                <a:gd name="T45" fmla="*/ 208 h 528"/>
                <a:gd name="T46" fmla="*/ 216 w 364"/>
                <a:gd name="T47" fmla="*/ 234 h 528"/>
                <a:gd name="T48" fmla="*/ 202 w 364"/>
                <a:gd name="T49" fmla="*/ 260 h 528"/>
                <a:gd name="T50" fmla="*/ 174 w 364"/>
                <a:gd name="T51" fmla="*/ 268 h 528"/>
                <a:gd name="T52" fmla="*/ 142 w 364"/>
                <a:gd name="T53" fmla="*/ 260 h 528"/>
                <a:gd name="T54" fmla="*/ 114 w 364"/>
                <a:gd name="T55" fmla="*/ 278 h 528"/>
                <a:gd name="T56" fmla="*/ 88 w 364"/>
                <a:gd name="T57" fmla="*/ 294 h 528"/>
                <a:gd name="T58" fmla="*/ 60 w 364"/>
                <a:gd name="T59" fmla="*/ 302 h 528"/>
                <a:gd name="T60" fmla="*/ 34 w 364"/>
                <a:gd name="T61" fmla="*/ 328 h 528"/>
                <a:gd name="T62" fmla="*/ 26 w 364"/>
                <a:gd name="T63" fmla="*/ 372 h 528"/>
                <a:gd name="T64" fmla="*/ 6 w 364"/>
                <a:gd name="T65" fmla="*/ 406 h 528"/>
                <a:gd name="T66" fmla="*/ 12 w 364"/>
                <a:gd name="T67" fmla="*/ 440 h 528"/>
                <a:gd name="T68" fmla="*/ 12 w 364"/>
                <a:gd name="T69" fmla="*/ 478 h 528"/>
                <a:gd name="T70" fmla="*/ 6 w 364"/>
                <a:gd name="T71" fmla="*/ 494 h 528"/>
                <a:gd name="T72" fmla="*/ 34 w 364"/>
                <a:gd name="T73" fmla="*/ 512 h 528"/>
                <a:gd name="T74" fmla="*/ 60 w 364"/>
                <a:gd name="T75" fmla="*/ 528 h 528"/>
                <a:gd name="T76" fmla="*/ 88 w 364"/>
                <a:gd name="T77" fmla="*/ 520 h 528"/>
                <a:gd name="T78" fmla="*/ 114 w 364"/>
                <a:gd name="T79" fmla="*/ 502 h 528"/>
                <a:gd name="T80" fmla="*/ 142 w 364"/>
                <a:gd name="T81" fmla="*/ 486 h 528"/>
                <a:gd name="T82" fmla="*/ 136 w 364"/>
                <a:gd name="T83" fmla="*/ 450 h 528"/>
                <a:gd name="T84" fmla="*/ 154 w 364"/>
                <a:gd name="T85" fmla="*/ 432 h 528"/>
                <a:gd name="T86" fmla="*/ 182 w 364"/>
                <a:gd name="T87" fmla="*/ 432 h 528"/>
                <a:gd name="T88" fmla="*/ 208 w 364"/>
                <a:gd name="T89" fmla="*/ 440 h 528"/>
                <a:gd name="T90" fmla="*/ 236 w 364"/>
                <a:gd name="T91" fmla="*/ 432 h 528"/>
                <a:gd name="T92" fmla="*/ 268 w 364"/>
                <a:gd name="T93" fmla="*/ 416 h 528"/>
                <a:gd name="T94" fmla="*/ 292 w 364"/>
                <a:gd name="T95" fmla="*/ 400 h 528"/>
                <a:gd name="T96" fmla="*/ 304 w 364"/>
                <a:gd name="T97" fmla="*/ 39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4" h="528">
                  <a:moveTo>
                    <a:pt x="310" y="390"/>
                  </a:moveTo>
                  <a:lnTo>
                    <a:pt x="324" y="372"/>
                  </a:lnTo>
                  <a:lnTo>
                    <a:pt x="338" y="372"/>
                  </a:lnTo>
                  <a:lnTo>
                    <a:pt x="350" y="356"/>
                  </a:lnTo>
                  <a:lnTo>
                    <a:pt x="350" y="338"/>
                  </a:lnTo>
                  <a:lnTo>
                    <a:pt x="350" y="320"/>
                  </a:lnTo>
                  <a:lnTo>
                    <a:pt x="362" y="302"/>
                  </a:lnTo>
                  <a:lnTo>
                    <a:pt x="364" y="302"/>
                  </a:lnTo>
                  <a:lnTo>
                    <a:pt x="356" y="286"/>
                  </a:lnTo>
                  <a:lnTo>
                    <a:pt x="356" y="268"/>
                  </a:lnTo>
                  <a:lnTo>
                    <a:pt x="356" y="250"/>
                  </a:lnTo>
                  <a:lnTo>
                    <a:pt x="342" y="242"/>
                  </a:lnTo>
                  <a:lnTo>
                    <a:pt x="338" y="226"/>
                  </a:lnTo>
                  <a:lnTo>
                    <a:pt x="328" y="208"/>
                  </a:lnTo>
                  <a:lnTo>
                    <a:pt x="324" y="190"/>
                  </a:lnTo>
                  <a:lnTo>
                    <a:pt x="328" y="172"/>
                  </a:lnTo>
                  <a:lnTo>
                    <a:pt x="328" y="156"/>
                  </a:lnTo>
                  <a:lnTo>
                    <a:pt x="338" y="138"/>
                  </a:lnTo>
                  <a:lnTo>
                    <a:pt x="324" y="122"/>
                  </a:lnTo>
                  <a:lnTo>
                    <a:pt x="324" y="104"/>
                  </a:lnTo>
                  <a:lnTo>
                    <a:pt x="324" y="86"/>
                  </a:lnTo>
                  <a:lnTo>
                    <a:pt x="324" y="70"/>
                  </a:lnTo>
                  <a:lnTo>
                    <a:pt x="316" y="52"/>
                  </a:lnTo>
                  <a:lnTo>
                    <a:pt x="316" y="34"/>
                  </a:lnTo>
                  <a:lnTo>
                    <a:pt x="324" y="18"/>
                  </a:lnTo>
                  <a:lnTo>
                    <a:pt x="326" y="6"/>
                  </a:lnTo>
                  <a:lnTo>
                    <a:pt x="324" y="6"/>
                  </a:lnTo>
                  <a:lnTo>
                    <a:pt x="316" y="8"/>
                  </a:lnTo>
                  <a:lnTo>
                    <a:pt x="304" y="0"/>
                  </a:lnTo>
                  <a:lnTo>
                    <a:pt x="288" y="0"/>
                  </a:lnTo>
                  <a:lnTo>
                    <a:pt x="278" y="0"/>
                  </a:lnTo>
                  <a:lnTo>
                    <a:pt x="278" y="8"/>
                  </a:lnTo>
                  <a:lnTo>
                    <a:pt x="278" y="26"/>
                  </a:lnTo>
                  <a:lnTo>
                    <a:pt x="260" y="34"/>
                  </a:lnTo>
                  <a:lnTo>
                    <a:pt x="250" y="34"/>
                  </a:lnTo>
                  <a:lnTo>
                    <a:pt x="236" y="42"/>
                  </a:lnTo>
                  <a:lnTo>
                    <a:pt x="222" y="60"/>
                  </a:lnTo>
                  <a:lnTo>
                    <a:pt x="216" y="78"/>
                  </a:lnTo>
                  <a:lnTo>
                    <a:pt x="202" y="96"/>
                  </a:lnTo>
                  <a:lnTo>
                    <a:pt x="216" y="104"/>
                  </a:lnTo>
                  <a:lnTo>
                    <a:pt x="216" y="122"/>
                  </a:lnTo>
                  <a:lnTo>
                    <a:pt x="216" y="138"/>
                  </a:lnTo>
                  <a:lnTo>
                    <a:pt x="216" y="156"/>
                  </a:lnTo>
                  <a:lnTo>
                    <a:pt x="216" y="172"/>
                  </a:lnTo>
                  <a:lnTo>
                    <a:pt x="202" y="190"/>
                  </a:lnTo>
                  <a:lnTo>
                    <a:pt x="194" y="208"/>
                  </a:lnTo>
                  <a:lnTo>
                    <a:pt x="208" y="216"/>
                  </a:lnTo>
                  <a:lnTo>
                    <a:pt x="216" y="234"/>
                  </a:lnTo>
                  <a:lnTo>
                    <a:pt x="216" y="250"/>
                  </a:lnTo>
                  <a:lnTo>
                    <a:pt x="202" y="260"/>
                  </a:lnTo>
                  <a:lnTo>
                    <a:pt x="188" y="260"/>
                  </a:lnTo>
                  <a:lnTo>
                    <a:pt x="174" y="268"/>
                  </a:lnTo>
                  <a:lnTo>
                    <a:pt x="154" y="260"/>
                  </a:lnTo>
                  <a:lnTo>
                    <a:pt x="142" y="260"/>
                  </a:lnTo>
                  <a:lnTo>
                    <a:pt x="128" y="268"/>
                  </a:lnTo>
                  <a:lnTo>
                    <a:pt x="114" y="278"/>
                  </a:lnTo>
                  <a:lnTo>
                    <a:pt x="100" y="294"/>
                  </a:lnTo>
                  <a:lnTo>
                    <a:pt x="88" y="294"/>
                  </a:lnTo>
                  <a:lnTo>
                    <a:pt x="74" y="302"/>
                  </a:lnTo>
                  <a:lnTo>
                    <a:pt x="60" y="302"/>
                  </a:lnTo>
                  <a:lnTo>
                    <a:pt x="46" y="312"/>
                  </a:lnTo>
                  <a:lnTo>
                    <a:pt x="34" y="328"/>
                  </a:lnTo>
                  <a:lnTo>
                    <a:pt x="34" y="356"/>
                  </a:lnTo>
                  <a:lnTo>
                    <a:pt x="26" y="372"/>
                  </a:lnTo>
                  <a:lnTo>
                    <a:pt x="20" y="390"/>
                  </a:lnTo>
                  <a:lnTo>
                    <a:pt x="6" y="406"/>
                  </a:lnTo>
                  <a:lnTo>
                    <a:pt x="12" y="424"/>
                  </a:lnTo>
                  <a:lnTo>
                    <a:pt x="12" y="440"/>
                  </a:lnTo>
                  <a:lnTo>
                    <a:pt x="20" y="458"/>
                  </a:lnTo>
                  <a:lnTo>
                    <a:pt x="12" y="478"/>
                  </a:lnTo>
                  <a:lnTo>
                    <a:pt x="0" y="494"/>
                  </a:lnTo>
                  <a:lnTo>
                    <a:pt x="6" y="494"/>
                  </a:lnTo>
                  <a:lnTo>
                    <a:pt x="20" y="502"/>
                  </a:lnTo>
                  <a:lnTo>
                    <a:pt x="34" y="512"/>
                  </a:lnTo>
                  <a:lnTo>
                    <a:pt x="46" y="520"/>
                  </a:lnTo>
                  <a:lnTo>
                    <a:pt x="60" y="528"/>
                  </a:lnTo>
                  <a:lnTo>
                    <a:pt x="74" y="528"/>
                  </a:lnTo>
                  <a:lnTo>
                    <a:pt x="88" y="520"/>
                  </a:lnTo>
                  <a:lnTo>
                    <a:pt x="100" y="502"/>
                  </a:lnTo>
                  <a:lnTo>
                    <a:pt x="114" y="502"/>
                  </a:lnTo>
                  <a:lnTo>
                    <a:pt x="136" y="502"/>
                  </a:lnTo>
                  <a:lnTo>
                    <a:pt x="142" y="486"/>
                  </a:lnTo>
                  <a:lnTo>
                    <a:pt x="142" y="468"/>
                  </a:lnTo>
                  <a:lnTo>
                    <a:pt x="136" y="450"/>
                  </a:lnTo>
                  <a:lnTo>
                    <a:pt x="142" y="432"/>
                  </a:lnTo>
                  <a:lnTo>
                    <a:pt x="154" y="432"/>
                  </a:lnTo>
                  <a:lnTo>
                    <a:pt x="168" y="432"/>
                  </a:lnTo>
                  <a:lnTo>
                    <a:pt x="182" y="432"/>
                  </a:lnTo>
                  <a:lnTo>
                    <a:pt x="194" y="432"/>
                  </a:lnTo>
                  <a:lnTo>
                    <a:pt x="208" y="440"/>
                  </a:lnTo>
                  <a:lnTo>
                    <a:pt x="222" y="440"/>
                  </a:lnTo>
                  <a:lnTo>
                    <a:pt x="236" y="432"/>
                  </a:lnTo>
                  <a:lnTo>
                    <a:pt x="250" y="416"/>
                  </a:lnTo>
                  <a:lnTo>
                    <a:pt x="268" y="416"/>
                  </a:lnTo>
                  <a:lnTo>
                    <a:pt x="282" y="406"/>
                  </a:lnTo>
                  <a:lnTo>
                    <a:pt x="292" y="400"/>
                  </a:lnTo>
                  <a:lnTo>
                    <a:pt x="306" y="390"/>
                  </a:lnTo>
                  <a:lnTo>
                    <a:pt x="304" y="390"/>
                  </a:lnTo>
                  <a:lnTo>
                    <a:pt x="310" y="39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58"/>
            <p:cNvSpPr>
              <a:spLocks/>
            </p:cNvSpPr>
            <p:nvPr/>
          </p:nvSpPr>
          <p:spPr bwMode="auto">
            <a:xfrm>
              <a:off x="3966337" y="2707274"/>
              <a:ext cx="343809" cy="233192"/>
            </a:xfrm>
            <a:custGeom>
              <a:avLst/>
              <a:gdLst>
                <a:gd name="T0" fmla="*/ 230 w 230"/>
                <a:gd name="T1" fmla="*/ 130 h 156"/>
                <a:gd name="T2" fmla="*/ 230 w 230"/>
                <a:gd name="T3" fmla="*/ 120 h 156"/>
                <a:gd name="T4" fmla="*/ 230 w 230"/>
                <a:gd name="T5" fmla="*/ 104 h 156"/>
                <a:gd name="T6" fmla="*/ 230 w 230"/>
                <a:gd name="T7" fmla="*/ 86 h 156"/>
                <a:gd name="T8" fmla="*/ 222 w 230"/>
                <a:gd name="T9" fmla="*/ 70 h 156"/>
                <a:gd name="T10" fmla="*/ 216 w 230"/>
                <a:gd name="T11" fmla="*/ 52 h 156"/>
                <a:gd name="T12" fmla="*/ 204 w 230"/>
                <a:gd name="T13" fmla="*/ 42 h 156"/>
                <a:gd name="T14" fmla="*/ 190 w 230"/>
                <a:gd name="T15" fmla="*/ 34 h 156"/>
                <a:gd name="T16" fmla="*/ 176 w 230"/>
                <a:gd name="T17" fmla="*/ 34 h 156"/>
                <a:gd name="T18" fmla="*/ 162 w 230"/>
                <a:gd name="T19" fmla="*/ 26 h 156"/>
                <a:gd name="T20" fmla="*/ 148 w 230"/>
                <a:gd name="T21" fmla="*/ 26 h 156"/>
                <a:gd name="T22" fmla="*/ 134 w 230"/>
                <a:gd name="T23" fmla="*/ 26 h 156"/>
                <a:gd name="T24" fmla="*/ 120 w 230"/>
                <a:gd name="T25" fmla="*/ 26 h 156"/>
                <a:gd name="T26" fmla="*/ 108 w 230"/>
                <a:gd name="T27" fmla="*/ 26 h 156"/>
                <a:gd name="T28" fmla="*/ 94 w 230"/>
                <a:gd name="T29" fmla="*/ 8 h 156"/>
                <a:gd name="T30" fmla="*/ 88 w 230"/>
                <a:gd name="T31" fmla="*/ 0 h 156"/>
                <a:gd name="T32" fmla="*/ 74 w 230"/>
                <a:gd name="T33" fmla="*/ 8 h 156"/>
                <a:gd name="T34" fmla="*/ 60 w 230"/>
                <a:gd name="T35" fmla="*/ 16 h 156"/>
                <a:gd name="T36" fmla="*/ 52 w 230"/>
                <a:gd name="T37" fmla="*/ 34 h 156"/>
                <a:gd name="T38" fmla="*/ 46 w 230"/>
                <a:gd name="T39" fmla="*/ 52 h 156"/>
                <a:gd name="T40" fmla="*/ 38 w 230"/>
                <a:gd name="T41" fmla="*/ 70 h 156"/>
                <a:gd name="T42" fmla="*/ 26 w 230"/>
                <a:gd name="T43" fmla="*/ 70 h 156"/>
                <a:gd name="T44" fmla="*/ 14 w 230"/>
                <a:gd name="T45" fmla="*/ 78 h 156"/>
                <a:gd name="T46" fmla="*/ 0 w 230"/>
                <a:gd name="T47" fmla="*/ 94 h 156"/>
                <a:gd name="T48" fmla="*/ 14 w 230"/>
                <a:gd name="T49" fmla="*/ 112 h 156"/>
                <a:gd name="T50" fmla="*/ 26 w 230"/>
                <a:gd name="T51" fmla="*/ 120 h 156"/>
                <a:gd name="T52" fmla="*/ 38 w 230"/>
                <a:gd name="T53" fmla="*/ 112 h 156"/>
                <a:gd name="T54" fmla="*/ 52 w 230"/>
                <a:gd name="T55" fmla="*/ 112 h 156"/>
                <a:gd name="T56" fmla="*/ 66 w 230"/>
                <a:gd name="T57" fmla="*/ 104 h 156"/>
                <a:gd name="T58" fmla="*/ 80 w 230"/>
                <a:gd name="T59" fmla="*/ 94 h 156"/>
                <a:gd name="T60" fmla="*/ 88 w 230"/>
                <a:gd name="T61" fmla="*/ 112 h 156"/>
                <a:gd name="T62" fmla="*/ 74 w 230"/>
                <a:gd name="T63" fmla="*/ 120 h 156"/>
                <a:gd name="T64" fmla="*/ 74 w 230"/>
                <a:gd name="T65" fmla="*/ 138 h 156"/>
                <a:gd name="T66" fmla="*/ 88 w 230"/>
                <a:gd name="T67" fmla="*/ 148 h 156"/>
                <a:gd name="T68" fmla="*/ 102 w 230"/>
                <a:gd name="T69" fmla="*/ 138 h 156"/>
                <a:gd name="T70" fmla="*/ 114 w 230"/>
                <a:gd name="T71" fmla="*/ 148 h 156"/>
                <a:gd name="T72" fmla="*/ 128 w 230"/>
                <a:gd name="T73" fmla="*/ 156 h 156"/>
                <a:gd name="T74" fmla="*/ 134 w 230"/>
                <a:gd name="T75" fmla="*/ 148 h 156"/>
                <a:gd name="T76" fmla="*/ 134 w 230"/>
                <a:gd name="T77" fmla="*/ 130 h 156"/>
                <a:gd name="T78" fmla="*/ 148 w 230"/>
                <a:gd name="T79" fmla="*/ 120 h 156"/>
                <a:gd name="T80" fmla="*/ 162 w 230"/>
                <a:gd name="T81" fmla="*/ 130 h 156"/>
                <a:gd name="T82" fmla="*/ 176 w 230"/>
                <a:gd name="T83" fmla="*/ 130 h 156"/>
                <a:gd name="T84" fmla="*/ 190 w 230"/>
                <a:gd name="T85" fmla="*/ 120 h 156"/>
                <a:gd name="T86" fmla="*/ 204 w 230"/>
                <a:gd name="T87" fmla="*/ 138 h 156"/>
                <a:gd name="T88" fmla="*/ 216 w 230"/>
                <a:gd name="T89" fmla="*/ 138 h 156"/>
                <a:gd name="T90" fmla="*/ 230 w 230"/>
                <a:gd name="T91" fmla="*/ 13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0" h="156">
                  <a:moveTo>
                    <a:pt x="230" y="130"/>
                  </a:moveTo>
                  <a:lnTo>
                    <a:pt x="230" y="120"/>
                  </a:lnTo>
                  <a:lnTo>
                    <a:pt x="230" y="104"/>
                  </a:lnTo>
                  <a:lnTo>
                    <a:pt x="230" y="86"/>
                  </a:lnTo>
                  <a:lnTo>
                    <a:pt x="222" y="70"/>
                  </a:lnTo>
                  <a:lnTo>
                    <a:pt x="216" y="52"/>
                  </a:lnTo>
                  <a:lnTo>
                    <a:pt x="204" y="42"/>
                  </a:lnTo>
                  <a:lnTo>
                    <a:pt x="190" y="34"/>
                  </a:lnTo>
                  <a:lnTo>
                    <a:pt x="176" y="34"/>
                  </a:lnTo>
                  <a:lnTo>
                    <a:pt x="162" y="26"/>
                  </a:lnTo>
                  <a:lnTo>
                    <a:pt x="148" y="26"/>
                  </a:lnTo>
                  <a:lnTo>
                    <a:pt x="134" y="26"/>
                  </a:lnTo>
                  <a:lnTo>
                    <a:pt x="120" y="26"/>
                  </a:lnTo>
                  <a:lnTo>
                    <a:pt x="108" y="26"/>
                  </a:lnTo>
                  <a:lnTo>
                    <a:pt x="94" y="8"/>
                  </a:lnTo>
                  <a:lnTo>
                    <a:pt x="88" y="0"/>
                  </a:lnTo>
                  <a:lnTo>
                    <a:pt x="74" y="8"/>
                  </a:lnTo>
                  <a:lnTo>
                    <a:pt x="60" y="16"/>
                  </a:lnTo>
                  <a:lnTo>
                    <a:pt x="52" y="34"/>
                  </a:lnTo>
                  <a:lnTo>
                    <a:pt x="46" y="52"/>
                  </a:lnTo>
                  <a:lnTo>
                    <a:pt x="38" y="70"/>
                  </a:lnTo>
                  <a:lnTo>
                    <a:pt x="26" y="70"/>
                  </a:lnTo>
                  <a:lnTo>
                    <a:pt x="14" y="78"/>
                  </a:lnTo>
                  <a:lnTo>
                    <a:pt x="0" y="94"/>
                  </a:lnTo>
                  <a:lnTo>
                    <a:pt x="14" y="112"/>
                  </a:lnTo>
                  <a:lnTo>
                    <a:pt x="26" y="120"/>
                  </a:lnTo>
                  <a:lnTo>
                    <a:pt x="38" y="112"/>
                  </a:lnTo>
                  <a:lnTo>
                    <a:pt x="52" y="112"/>
                  </a:lnTo>
                  <a:lnTo>
                    <a:pt x="66" y="104"/>
                  </a:lnTo>
                  <a:lnTo>
                    <a:pt x="80" y="94"/>
                  </a:lnTo>
                  <a:lnTo>
                    <a:pt x="88" y="112"/>
                  </a:lnTo>
                  <a:lnTo>
                    <a:pt x="74" y="120"/>
                  </a:lnTo>
                  <a:lnTo>
                    <a:pt x="74" y="138"/>
                  </a:lnTo>
                  <a:lnTo>
                    <a:pt x="88" y="148"/>
                  </a:lnTo>
                  <a:lnTo>
                    <a:pt x="102" y="138"/>
                  </a:lnTo>
                  <a:lnTo>
                    <a:pt x="114" y="148"/>
                  </a:lnTo>
                  <a:lnTo>
                    <a:pt x="128" y="156"/>
                  </a:lnTo>
                  <a:lnTo>
                    <a:pt x="134" y="148"/>
                  </a:lnTo>
                  <a:lnTo>
                    <a:pt x="134" y="130"/>
                  </a:lnTo>
                  <a:lnTo>
                    <a:pt x="148" y="120"/>
                  </a:lnTo>
                  <a:lnTo>
                    <a:pt x="162" y="130"/>
                  </a:lnTo>
                  <a:lnTo>
                    <a:pt x="176" y="130"/>
                  </a:lnTo>
                  <a:lnTo>
                    <a:pt x="190" y="120"/>
                  </a:lnTo>
                  <a:lnTo>
                    <a:pt x="204" y="138"/>
                  </a:lnTo>
                  <a:lnTo>
                    <a:pt x="216" y="138"/>
                  </a:lnTo>
                  <a:lnTo>
                    <a:pt x="230" y="130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60"/>
            <p:cNvSpPr>
              <a:spLocks/>
            </p:cNvSpPr>
            <p:nvPr/>
          </p:nvSpPr>
          <p:spPr bwMode="auto">
            <a:xfrm>
              <a:off x="3712217" y="2512947"/>
              <a:ext cx="385664" cy="511228"/>
            </a:xfrm>
            <a:custGeom>
              <a:avLst/>
              <a:gdLst>
                <a:gd name="T0" fmla="*/ 170 w 258"/>
                <a:gd name="T1" fmla="*/ 224 h 342"/>
                <a:gd name="T2" fmla="*/ 196 w 258"/>
                <a:gd name="T3" fmla="*/ 198 h 342"/>
                <a:gd name="T4" fmla="*/ 216 w 258"/>
                <a:gd name="T5" fmla="*/ 182 h 342"/>
                <a:gd name="T6" fmla="*/ 230 w 258"/>
                <a:gd name="T7" fmla="*/ 146 h 342"/>
                <a:gd name="T8" fmla="*/ 258 w 258"/>
                <a:gd name="T9" fmla="*/ 130 h 342"/>
                <a:gd name="T10" fmla="*/ 236 w 258"/>
                <a:gd name="T11" fmla="*/ 122 h 342"/>
                <a:gd name="T12" fmla="*/ 210 w 258"/>
                <a:gd name="T13" fmla="*/ 104 h 342"/>
                <a:gd name="T14" fmla="*/ 190 w 258"/>
                <a:gd name="T15" fmla="*/ 80 h 342"/>
                <a:gd name="T16" fmla="*/ 162 w 258"/>
                <a:gd name="T17" fmla="*/ 50 h 342"/>
                <a:gd name="T18" fmla="*/ 130 w 258"/>
                <a:gd name="T19" fmla="*/ 26 h 342"/>
                <a:gd name="T20" fmla="*/ 94 w 258"/>
                <a:gd name="T21" fmla="*/ 8 h 342"/>
                <a:gd name="T22" fmla="*/ 68 w 258"/>
                <a:gd name="T23" fmla="*/ 0 h 342"/>
                <a:gd name="T24" fmla="*/ 42 w 258"/>
                <a:gd name="T25" fmla="*/ 8 h 342"/>
                <a:gd name="T26" fmla="*/ 14 w 258"/>
                <a:gd name="T27" fmla="*/ 8 h 342"/>
                <a:gd name="T28" fmla="*/ 10 w 258"/>
                <a:gd name="T29" fmla="*/ 6 h 342"/>
                <a:gd name="T30" fmla="*/ 0 w 258"/>
                <a:gd name="T31" fmla="*/ 34 h 342"/>
                <a:gd name="T32" fmla="*/ 6 w 258"/>
                <a:gd name="T33" fmla="*/ 70 h 342"/>
                <a:gd name="T34" fmla="*/ 6 w 258"/>
                <a:gd name="T35" fmla="*/ 104 h 342"/>
                <a:gd name="T36" fmla="*/ 22 w 258"/>
                <a:gd name="T37" fmla="*/ 140 h 342"/>
                <a:gd name="T38" fmla="*/ 14 w 258"/>
                <a:gd name="T39" fmla="*/ 174 h 342"/>
                <a:gd name="T40" fmla="*/ 14 w 258"/>
                <a:gd name="T41" fmla="*/ 208 h 342"/>
                <a:gd name="T42" fmla="*/ 28 w 258"/>
                <a:gd name="T43" fmla="*/ 242 h 342"/>
                <a:gd name="T44" fmla="*/ 42 w 258"/>
                <a:gd name="T45" fmla="*/ 268 h 342"/>
                <a:gd name="T46" fmla="*/ 48 w 258"/>
                <a:gd name="T47" fmla="*/ 304 h 342"/>
                <a:gd name="T48" fmla="*/ 46 w 258"/>
                <a:gd name="T49" fmla="*/ 300 h 342"/>
                <a:gd name="T50" fmla="*/ 68 w 258"/>
                <a:gd name="T51" fmla="*/ 312 h 342"/>
                <a:gd name="T52" fmla="*/ 94 w 258"/>
                <a:gd name="T53" fmla="*/ 304 h 342"/>
                <a:gd name="T54" fmla="*/ 122 w 258"/>
                <a:gd name="T55" fmla="*/ 328 h 342"/>
                <a:gd name="T56" fmla="*/ 142 w 258"/>
                <a:gd name="T57" fmla="*/ 336 h 342"/>
                <a:gd name="T58" fmla="*/ 168 w 258"/>
                <a:gd name="T59" fmla="*/ 316 h 342"/>
                <a:gd name="T60" fmla="*/ 170 w 258"/>
                <a:gd name="T61" fmla="*/ 286 h 342"/>
                <a:gd name="T62" fmla="*/ 176 w 258"/>
                <a:gd name="T63" fmla="*/ 250 h 342"/>
                <a:gd name="T64" fmla="*/ 184 w 258"/>
                <a:gd name="T65" fmla="*/ 2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8" h="342">
                  <a:moveTo>
                    <a:pt x="184" y="242"/>
                  </a:moveTo>
                  <a:lnTo>
                    <a:pt x="170" y="224"/>
                  </a:lnTo>
                  <a:lnTo>
                    <a:pt x="184" y="208"/>
                  </a:lnTo>
                  <a:lnTo>
                    <a:pt x="196" y="198"/>
                  </a:lnTo>
                  <a:lnTo>
                    <a:pt x="210" y="198"/>
                  </a:lnTo>
                  <a:lnTo>
                    <a:pt x="216" y="182"/>
                  </a:lnTo>
                  <a:lnTo>
                    <a:pt x="222" y="164"/>
                  </a:lnTo>
                  <a:lnTo>
                    <a:pt x="230" y="146"/>
                  </a:lnTo>
                  <a:lnTo>
                    <a:pt x="244" y="140"/>
                  </a:lnTo>
                  <a:lnTo>
                    <a:pt x="258" y="130"/>
                  </a:lnTo>
                  <a:lnTo>
                    <a:pt x="250" y="122"/>
                  </a:lnTo>
                  <a:lnTo>
                    <a:pt x="236" y="122"/>
                  </a:lnTo>
                  <a:lnTo>
                    <a:pt x="222" y="112"/>
                  </a:lnTo>
                  <a:lnTo>
                    <a:pt x="210" y="104"/>
                  </a:lnTo>
                  <a:lnTo>
                    <a:pt x="204" y="86"/>
                  </a:lnTo>
                  <a:lnTo>
                    <a:pt x="190" y="80"/>
                  </a:lnTo>
                  <a:lnTo>
                    <a:pt x="176" y="60"/>
                  </a:lnTo>
                  <a:lnTo>
                    <a:pt x="162" y="50"/>
                  </a:lnTo>
                  <a:lnTo>
                    <a:pt x="148" y="42"/>
                  </a:lnTo>
                  <a:lnTo>
                    <a:pt x="130" y="26"/>
                  </a:lnTo>
                  <a:lnTo>
                    <a:pt x="108" y="16"/>
                  </a:lnTo>
                  <a:lnTo>
                    <a:pt x="94" y="8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4" y="8"/>
                  </a:lnTo>
                  <a:lnTo>
                    <a:pt x="42" y="8"/>
                  </a:lnTo>
                  <a:lnTo>
                    <a:pt x="28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0" y="6"/>
                  </a:lnTo>
                  <a:lnTo>
                    <a:pt x="6" y="16"/>
                  </a:lnTo>
                  <a:lnTo>
                    <a:pt x="0" y="34"/>
                  </a:lnTo>
                  <a:lnTo>
                    <a:pt x="0" y="50"/>
                  </a:lnTo>
                  <a:lnTo>
                    <a:pt x="6" y="70"/>
                  </a:lnTo>
                  <a:lnTo>
                    <a:pt x="6" y="86"/>
                  </a:lnTo>
                  <a:lnTo>
                    <a:pt x="6" y="104"/>
                  </a:lnTo>
                  <a:lnTo>
                    <a:pt x="6" y="122"/>
                  </a:lnTo>
                  <a:lnTo>
                    <a:pt x="22" y="140"/>
                  </a:lnTo>
                  <a:lnTo>
                    <a:pt x="14" y="156"/>
                  </a:lnTo>
                  <a:lnTo>
                    <a:pt x="14" y="174"/>
                  </a:lnTo>
                  <a:lnTo>
                    <a:pt x="6" y="190"/>
                  </a:lnTo>
                  <a:lnTo>
                    <a:pt x="14" y="208"/>
                  </a:lnTo>
                  <a:lnTo>
                    <a:pt x="22" y="224"/>
                  </a:lnTo>
                  <a:lnTo>
                    <a:pt x="28" y="242"/>
                  </a:lnTo>
                  <a:lnTo>
                    <a:pt x="42" y="250"/>
                  </a:lnTo>
                  <a:lnTo>
                    <a:pt x="42" y="268"/>
                  </a:lnTo>
                  <a:lnTo>
                    <a:pt x="42" y="286"/>
                  </a:lnTo>
                  <a:lnTo>
                    <a:pt x="48" y="304"/>
                  </a:lnTo>
                  <a:lnTo>
                    <a:pt x="42" y="304"/>
                  </a:lnTo>
                  <a:lnTo>
                    <a:pt x="46" y="300"/>
                  </a:lnTo>
                  <a:lnTo>
                    <a:pt x="54" y="312"/>
                  </a:lnTo>
                  <a:lnTo>
                    <a:pt x="68" y="312"/>
                  </a:lnTo>
                  <a:lnTo>
                    <a:pt x="82" y="304"/>
                  </a:lnTo>
                  <a:lnTo>
                    <a:pt x="94" y="304"/>
                  </a:lnTo>
                  <a:lnTo>
                    <a:pt x="108" y="312"/>
                  </a:lnTo>
                  <a:lnTo>
                    <a:pt x="122" y="328"/>
                  </a:lnTo>
                  <a:lnTo>
                    <a:pt x="136" y="342"/>
                  </a:lnTo>
                  <a:lnTo>
                    <a:pt x="142" y="336"/>
                  </a:lnTo>
                  <a:lnTo>
                    <a:pt x="152" y="316"/>
                  </a:lnTo>
                  <a:lnTo>
                    <a:pt x="168" y="316"/>
                  </a:lnTo>
                  <a:lnTo>
                    <a:pt x="170" y="304"/>
                  </a:lnTo>
                  <a:lnTo>
                    <a:pt x="170" y="286"/>
                  </a:lnTo>
                  <a:lnTo>
                    <a:pt x="176" y="268"/>
                  </a:lnTo>
                  <a:lnTo>
                    <a:pt x="176" y="250"/>
                  </a:lnTo>
                  <a:lnTo>
                    <a:pt x="180" y="242"/>
                  </a:lnTo>
                  <a:lnTo>
                    <a:pt x="184" y="242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86"/>
            <p:cNvSpPr>
              <a:spLocks/>
            </p:cNvSpPr>
            <p:nvPr/>
          </p:nvSpPr>
          <p:spPr bwMode="auto">
            <a:xfrm>
              <a:off x="1948330" y="1956874"/>
              <a:ext cx="1288535" cy="1243690"/>
            </a:xfrm>
            <a:custGeom>
              <a:avLst/>
              <a:gdLst>
                <a:gd name="T0" fmla="*/ 546 w 862"/>
                <a:gd name="T1" fmla="*/ 174 h 832"/>
                <a:gd name="T2" fmla="*/ 592 w 862"/>
                <a:gd name="T3" fmla="*/ 182 h 832"/>
                <a:gd name="T4" fmla="*/ 648 w 862"/>
                <a:gd name="T5" fmla="*/ 192 h 832"/>
                <a:gd name="T6" fmla="*/ 700 w 862"/>
                <a:gd name="T7" fmla="*/ 192 h 832"/>
                <a:gd name="T8" fmla="*/ 680 w 862"/>
                <a:gd name="T9" fmla="*/ 260 h 832"/>
                <a:gd name="T10" fmla="*/ 712 w 862"/>
                <a:gd name="T11" fmla="*/ 252 h 832"/>
                <a:gd name="T12" fmla="*/ 768 w 862"/>
                <a:gd name="T13" fmla="*/ 216 h 832"/>
                <a:gd name="T14" fmla="*/ 822 w 862"/>
                <a:gd name="T15" fmla="*/ 244 h 832"/>
                <a:gd name="T16" fmla="*/ 862 w 862"/>
                <a:gd name="T17" fmla="*/ 250 h 832"/>
                <a:gd name="T18" fmla="*/ 850 w 862"/>
                <a:gd name="T19" fmla="*/ 322 h 832"/>
                <a:gd name="T20" fmla="*/ 822 w 862"/>
                <a:gd name="T21" fmla="*/ 382 h 832"/>
                <a:gd name="T22" fmla="*/ 782 w 862"/>
                <a:gd name="T23" fmla="*/ 442 h 832"/>
                <a:gd name="T24" fmla="*/ 740 w 862"/>
                <a:gd name="T25" fmla="*/ 484 h 832"/>
                <a:gd name="T26" fmla="*/ 688 w 862"/>
                <a:gd name="T27" fmla="*/ 512 h 832"/>
                <a:gd name="T28" fmla="*/ 726 w 862"/>
                <a:gd name="T29" fmla="*/ 546 h 832"/>
                <a:gd name="T30" fmla="*/ 694 w 862"/>
                <a:gd name="T31" fmla="*/ 606 h 832"/>
                <a:gd name="T32" fmla="*/ 648 w 862"/>
                <a:gd name="T33" fmla="*/ 640 h 832"/>
                <a:gd name="T34" fmla="*/ 648 w 862"/>
                <a:gd name="T35" fmla="*/ 710 h 832"/>
                <a:gd name="T36" fmla="*/ 612 w 862"/>
                <a:gd name="T37" fmla="*/ 772 h 832"/>
                <a:gd name="T38" fmla="*/ 574 w 862"/>
                <a:gd name="T39" fmla="*/ 822 h 832"/>
                <a:gd name="T40" fmla="*/ 492 w 862"/>
                <a:gd name="T41" fmla="*/ 832 h 832"/>
                <a:gd name="T42" fmla="*/ 404 w 862"/>
                <a:gd name="T43" fmla="*/ 822 h 832"/>
                <a:gd name="T44" fmla="*/ 330 w 862"/>
                <a:gd name="T45" fmla="*/ 822 h 832"/>
                <a:gd name="T46" fmla="*/ 242 w 862"/>
                <a:gd name="T47" fmla="*/ 822 h 832"/>
                <a:gd name="T48" fmla="*/ 174 w 862"/>
                <a:gd name="T49" fmla="*/ 822 h 832"/>
                <a:gd name="T50" fmla="*/ 136 w 862"/>
                <a:gd name="T51" fmla="*/ 780 h 832"/>
                <a:gd name="T52" fmla="*/ 100 w 862"/>
                <a:gd name="T53" fmla="*/ 728 h 832"/>
                <a:gd name="T54" fmla="*/ 80 w 862"/>
                <a:gd name="T55" fmla="*/ 676 h 832"/>
                <a:gd name="T56" fmla="*/ 60 w 862"/>
                <a:gd name="T57" fmla="*/ 616 h 832"/>
                <a:gd name="T58" fmla="*/ 94 w 862"/>
                <a:gd name="T59" fmla="*/ 520 h 832"/>
                <a:gd name="T60" fmla="*/ 140 w 862"/>
                <a:gd name="T61" fmla="*/ 424 h 832"/>
                <a:gd name="T62" fmla="*/ 180 w 862"/>
                <a:gd name="T63" fmla="*/ 322 h 832"/>
                <a:gd name="T64" fmla="*/ 126 w 862"/>
                <a:gd name="T65" fmla="*/ 304 h 832"/>
                <a:gd name="T66" fmla="*/ 88 w 862"/>
                <a:gd name="T67" fmla="*/ 278 h 832"/>
                <a:gd name="T68" fmla="*/ 38 w 862"/>
                <a:gd name="T69" fmla="*/ 244 h 832"/>
                <a:gd name="T70" fmla="*/ 6 w 862"/>
                <a:gd name="T71" fmla="*/ 174 h 832"/>
                <a:gd name="T72" fmla="*/ 8 w 862"/>
                <a:gd name="T73" fmla="*/ 130 h 832"/>
                <a:gd name="T74" fmla="*/ 8 w 862"/>
                <a:gd name="T75" fmla="*/ 94 h 832"/>
                <a:gd name="T76" fmla="*/ 60 w 862"/>
                <a:gd name="T77" fmla="*/ 70 h 832"/>
                <a:gd name="T78" fmla="*/ 114 w 862"/>
                <a:gd name="T79" fmla="*/ 42 h 832"/>
                <a:gd name="T80" fmla="*/ 170 w 862"/>
                <a:gd name="T81" fmla="*/ 50 h 832"/>
                <a:gd name="T82" fmla="*/ 202 w 862"/>
                <a:gd name="T83" fmla="*/ 28 h 832"/>
                <a:gd name="T84" fmla="*/ 242 w 862"/>
                <a:gd name="T85" fmla="*/ 10 h 832"/>
                <a:gd name="T86" fmla="*/ 278 w 862"/>
                <a:gd name="T87" fmla="*/ 16 h 832"/>
                <a:gd name="T88" fmla="*/ 324 w 862"/>
                <a:gd name="T89" fmla="*/ 62 h 832"/>
                <a:gd name="T90" fmla="*/ 370 w 862"/>
                <a:gd name="T91" fmla="*/ 88 h 832"/>
                <a:gd name="T92" fmla="*/ 404 w 862"/>
                <a:gd name="T93" fmla="*/ 148 h 832"/>
                <a:gd name="T94" fmla="*/ 436 w 862"/>
                <a:gd name="T95" fmla="*/ 210 h 832"/>
                <a:gd name="T96" fmla="*/ 484 w 862"/>
                <a:gd name="T97" fmla="*/ 234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2" h="832">
                  <a:moveTo>
                    <a:pt x="502" y="208"/>
                  </a:moveTo>
                  <a:lnTo>
                    <a:pt x="520" y="200"/>
                  </a:lnTo>
                  <a:lnTo>
                    <a:pt x="534" y="192"/>
                  </a:lnTo>
                  <a:lnTo>
                    <a:pt x="546" y="174"/>
                  </a:lnTo>
                  <a:lnTo>
                    <a:pt x="558" y="174"/>
                  </a:lnTo>
                  <a:lnTo>
                    <a:pt x="564" y="192"/>
                  </a:lnTo>
                  <a:lnTo>
                    <a:pt x="578" y="192"/>
                  </a:lnTo>
                  <a:lnTo>
                    <a:pt x="592" y="182"/>
                  </a:lnTo>
                  <a:lnTo>
                    <a:pt x="606" y="182"/>
                  </a:lnTo>
                  <a:lnTo>
                    <a:pt x="620" y="192"/>
                  </a:lnTo>
                  <a:lnTo>
                    <a:pt x="634" y="200"/>
                  </a:lnTo>
                  <a:lnTo>
                    <a:pt x="648" y="192"/>
                  </a:lnTo>
                  <a:lnTo>
                    <a:pt x="660" y="182"/>
                  </a:lnTo>
                  <a:lnTo>
                    <a:pt x="674" y="192"/>
                  </a:lnTo>
                  <a:lnTo>
                    <a:pt x="688" y="192"/>
                  </a:lnTo>
                  <a:lnTo>
                    <a:pt x="700" y="192"/>
                  </a:lnTo>
                  <a:lnTo>
                    <a:pt x="708" y="210"/>
                  </a:lnTo>
                  <a:lnTo>
                    <a:pt x="694" y="226"/>
                  </a:lnTo>
                  <a:lnTo>
                    <a:pt x="688" y="244"/>
                  </a:lnTo>
                  <a:lnTo>
                    <a:pt x="680" y="260"/>
                  </a:lnTo>
                  <a:lnTo>
                    <a:pt x="680" y="278"/>
                  </a:lnTo>
                  <a:lnTo>
                    <a:pt x="694" y="278"/>
                  </a:lnTo>
                  <a:lnTo>
                    <a:pt x="708" y="268"/>
                  </a:lnTo>
                  <a:lnTo>
                    <a:pt x="712" y="252"/>
                  </a:lnTo>
                  <a:lnTo>
                    <a:pt x="720" y="234"/>
                  </a:lnTo>
                  <a:lnTo>
                    <a:pt x="734" y="226"/>
                  </a:lnTo>
                  <a:lnTo>
                    <a:pt x="748" y="216"/>
                  </a:lnTo>
                  <a:lnTo>
                    <a:pt x="768" y="216"/>
                  </a:lnTo>
                  <a:lnTo>
                    <a:pt x="782" y="226"/>
                  </a:lnTo>
                  <a:lnTo>
                    <a:pt x="796" y="234"/>
                  </a:lnTo>
                  <a:lnTo>
                    <a:pt x="810" y="234"/>
                  </a:lnTo>
                  <a:lnTo>
                    <a:pt x="822" y="244"/>
                  </a:lnTo>
                  <a:lnTo>
                    <a:pt x="836" y="244"/>
                  </a:lnTo>
                  <a:lnTo>
                    <a:pt x="850" y="244"/>
                  </a:lnTo>
                  <a:lnTo>
                    <a:pt x="862" y="252"/>
                  </a:lnTo>
                  <a:lnTo>
                    <a:pt x="862" y="250"/>
                  </a:lnTo>
                  <a:lnTo>
                    <a:pt x="862" y="260"/>
                  </a:lnTo>
                  <a:lnTo>
                    <a:pt x="856" y="278"/>
                  </a:lnTo>
                  <a:lnTo>
                    <a:pt x="856" y="304"/>
                  </a:lnTo>
                  <a:lnTo>
                    <a:pt x="850" y="322"/>
                  </a:lnTo>
                  <a:lnTo>
                    <a:pt x="842" y="338"/>
                  </a:lnTo>
                  <a:lnTo>
                    <a:pt x="828" y="346"/>
                  </a:lnTo>
                  <a:lnTo>
                    <a:pt x="822" y="366"/>
                  </a:lnTo>
                  <a:lnTo>
                    <a:pt x="822" y="382"/>
                  </a:lnTo>
                  <a:lnTo>
                    <a:pt x="814" y="400"/>
                  </a:lnTo>
                  <a:lnTo>
                    <a:pt x="810" y="416"/>
                  </a:lnTo>
                  <a:lnTo>
                    <a:pt x="796" y="434"/>
                  </a:lnTo>
                  <a:lnTo>
                    <a:pt x="782" y="442"/>
                  </a:lnTo>
                  <a:lnTo>
                    <a:pt x="774" y="458"/>
                  </a:lnTo>
                  <a:lnTo>
                    <a:pt x="768" y="476"/>
                  </a:lnTo>
                  <a:lnTo>
                    <a:pt x="756" y="476"/>
                  </a:lnTo>
                  <a:lnTo>
                    <a:pt x="740" y="484"/>
                  </a:lnTo>
                  <a:lnTo>
                    <a:pt x="726" y="484"/>
                  </a:lnTo>
                  <a:lnTo>
                    <a:pt x="712" y="502"/>
                  </a:lnTo>
                  <a:lnTo>
                    <a:pt x="708" y="512"/>
                  </a:lnTo>
                  <a:lnTo>
                    <a:pt x="688" y="512"/>
                  </a:lnTo>
                  <a:lnTo>
                    <a:pt x="688" y="530"/>
                  </a:lnTo>
                  <a:lnTo>
                    <a:pt x="700" y="538"/>
                  </a:lnTo>
                  <a:lnTo>
                    <a:pt x="712" y="538"/>
                  </a:lnTo>
                  <a:lnTo>
                    <a:pt x="726" y="546"/>
                  </a:lnTo>
                  <a:lnTo>
                    <a:pt x="712" y="562"/>
                  </a:lnTo>
                  <a:lnTo>
                    <a:pt x="712" y="582"/>
                  </a:lnTo>
                  <a:lnTo>
                    <a:pt x="700" y="590"/>
                  </a:lnTo>
                  <a:lnTo>
                    <a:pt x="694" y="606"/>
                  </a:lnTo>
                  <a:lnTo>
                    <a:pt x="680" y="622"/>
                  </a:lnTo>
                  <a:lnTo>
                    <a:pt x="666" y="622"/>
                  </a:lnTo>
                  <a:lnTo>
                    <a:pt x="654" y="622"/>
                  </a:lnTo>
                  <a:lnTo>
                    <a:pt x="648" y="640"/>
                  </a:lnTo>
                  <a:lnTo>
                    <a:pt x="654" y="660"/>
                  </a:lnTo>
                  <a:lnTo>
                    <a:pt x="648" y="676"/>
                  </a:lnTo>
                  <a:lnTo>
                    <a:pt x="648" y="692"/>
                  </a:lnTo>
                  <a:lnTo>
                    <a:pt x="648" y="710"/>
                  </a:lnTo>
                  <a:lnTo>
                    <a:pt x="640" y="728"/>
                  </a:lnTo>
                  <a:lnTo>
                    <a:pt x="634" y="744"/>
                  </a:lnTo>
                  <a:lnTo>
                    <a:pt x="626" y="760"/>
                  </a:lnTo>
                  <a:lnTo>
                    <a:pt x="612" y="772"/>
                  </a:lnTo>
                  <a:lnTo>
                    <a:pt x="598" y="788"/>
                  </a:lnTo>
                  <a:lnTo>
                    <a:pt x="592" y="804"/>
                  </a:lnTo>
                  <a:lnTo>
                    <a:pt x="586" y="822"/>
                  </a:lnTo>
                  <a:lnTo>
                    <a:pt x="574" y="822"/>
                  </a:lnTo>
                  <a:lnTo>
                    <a:pt x="552" y="822"/>
                  </a:lnTo>
                  <a:lnTo>
                    <a:pt x="534" y="832"/>
                  </a:lnTo>
                  <a:lnTo>
                    <a:pt x="510" y="832"/>
                  </a:lnTo>
                  <a:lnTo>
                    <a:pt x="492" y="832"/>
                  </a:lnTo>
                  <a:lnTo>
                    <a:pt x="472" y="832"/>
                  </a:lnTo>
                  <a:lnTo>
                    <a:pt x="452" y="822"/>
                  </a:lnTo>
                  <a:lnTo>
                    <a:pt x="432" y="822"/>
                  </a:lnTo>
                  <a:lnTo>
                    <a:pt x="404" y="822"/>
                  </a:lnTo>
                  <a:lnTo>
                    <a:pt x="384" y="822"/>
                  </a:lnTo>
                  <a:lnTo>
                    <a:pt x="362" y="822"/>
                  </a:lnTo>
                  <a:lnTo>
                    <a:pt x="350" y="822"/>
                  </a:lnTo>
                  <a:lnTo>
                    <a:pt x="330" y="822"/>
                  </a:lnTo>
                  <a:lnTo>
                    <a:pt x="308" y="822"/>
                  </a:lnTo>
                  <a:lnTo>
                    <a:pt x="282" y="822"/>
                  </a:lnTo>
                  <a:lnTo>
                    <a:pt x="264" y="822"/>
                  </a:lnTo>
                  <a:lnTo>
                    <a:pt x="242" y="822"/>
                  </a:lnTo>
                  <a:lnTo>
                    <a:pt x="222" y="822"/>
                  </a:lnTo>
                  <a:lnTo>
                    <a:pt x="202" y="814"/>
                  </a:lnTo>
                  <a:lnTo>
                    <a:pt x="188" y="814"/>
                  </a:lnTo>
                  <a:lnTo>
                    <a:pt x="174" y="822"/>
                  </a:lnTo>
                  <a:lnTo>
                    <a:pt x="162" y="814"/>
                  </a:lnTo>
                  <a:lnTo>
                    <a:pt x="154" y="798"/>
                  </a:lnTo>
                  <a:lnTo>
                    <a:pt x="140" y="798"/>
                  </a:lnTo>
                  <a:lnTo>
                    <a:pt x="136" y="780"/>
                  </a:lnTo>
                  <a:lnTo>
                    <a:pt x="122" y="760"/>
                  </a:lnTo>
                  <a:lnTo>
                    <a:pt x="106" y="760"/>
                  </a:lnTo>
                  <a:lnTo>
                    <a:pt x="100" y="744"/>
                  </a:lnTo>
                  <a:lnTo>
                    <a:pt x="100" y="728"/>
                  </a:lnTo>
                  <a:lnTo>
                    <a:pt x="94" y="710"/>
                  </a:lnTo>
                  <a:lnTo>
                    <a:pt x="88" y="692"/>
                  </a:lnTo>
                  <a:lnTo>
                    <a:pt x="80" y="684"/>
                  </a:lnTo>
                  <a:lnTo>
                    <a:pt x="80" y="676"/>
                  </a:lnTo>
                  <a:lnTo>
                    <a:pt x="80" y="668"/>
                  </a:lnTo>
                  <a:lnTo>
                    <a:pt x="74" y="650"/>
                  </a:lnTo>
                  <a:lnTo>
                    <a:pt x="60" y="632"/>
                  </a:lnTo>
                  <a:lnTo>
                    <a:pt x="60" y="616"/>
                  </a:lnTo>
                  <a:lnTo>
                    <a:pt x="68" y="598"/>
                  </a:lnTo>
                  <a:lnTo>
                    <a:pt x="74" y="582"/>
                  </a:lnTo>
                  <a:lnTo>
                    <a:pt x="88" y="546"/>
                  </a:lnTo>
                  <a:lnTo>
                    <a:pt x="94" y="520"/>
                  </a:lnTo>
                  <a:lnTo>
                    <a:pt x="106" y="496"/>
                  </a:lnTo>
                  <a:lnTo>
                    <a:pt x="114" y="476"/>
                  </a:lnTo>
                  <a:lnTo>
                    <a:pt x="126" y="452"/>
                  </a:lnTo>
                  <a:lnTo>
                    <a:pt x="140" y="424"/>
                  </a:lnTo>
                  <a:lnTo>
                    <a:pt x="154" y="390"/>
                  </a:lnTo>
                  <a:lnTo>
                    <a:pt x="162" y="374"/>
                  </a:lnTo>
                  <a:lnTo>
                    <a:pt x="168" y="346"/>
                  </a:lnTo>
                  <a:lnTo>
                    <a:pt x="180" y="322"/>
                  </a:lnTo>
                  <a:lnTo>
                    <a:pt x="180" y="304"/>
                  </a:lnTo>
                  <a:lnTo>
                    <a:pt x="162" y="312"/>
                  </a:lnTo>
                  <a:lnTo>
                    <a:pt x="140" y="312"/>
                  </a:lnTo>
                  <a:lnTo>
                    <a:pt x="126" y="304"/>
                  </a:lnTo>
                  <a:lnTo>
                    <a:pt x="122" y="288"/>
                  </a:lnTo>
                  <a:lnTo>
                    <a:pt x="114" y="278"/>
                  </a:lnTo>
                  <a:lnTo>
                    <a:pt x="100" y="278"/>
                  </a:lnTo>
                  <a:lnTo>
                    <a:pt x="88" y="278"/>
                  </a:lnTo>
                  <a:lnTo>
                    <a:pt x="74" y="278"/>
                  </a:lnTo>
                  <a:lnTo>
                    <a:pt x="52" y="268"/>
                  </a:lnTo>
                  <a:lnTo>
                    <a:pt x="38" y="260"/>
                  </a:lnTo>
                  <a:lnTo>
                    <a:pt x="38" y="244"/>
                  </a:lnTo>
                  <a:lnTo>
                    <a:pt x="26" y="226"/>
                  </a:lnTo>
                  <a:lnTo>
                    <a:pt x="20" y="210"/>
                  </a:lnTo>
                  <a:lnTo>
                    <a:pt x="14" y="192"/>
                  </a:lnTo>
                  <a:lnTo>
                    <a:pt x="6" y="174"/>
                  </a:lnTo>
                  <a:lnTo>
                    <a:pt x="6" y="156"/>
                  </a:lnTo>
                  <a:lnTo>
                    <a:pt x="8" y="156"/>
                  </a:lnTo>
                  <a:lnTo>
                    <a:pt x="14" y="148"/>
                  </a:lnTo>
                  <a:lnTo>
                    <a:pt x="8" y="130"/>
                  </a:lnTo>
                  <a:lnTo>
                    <a:pt x="14" y="122"/>
                  </a:lnTo>
                  <a:lnTo>
                    <a:pt x="8" y="104"/>
                  </a:lnTo>
                  <a:lnTo>
                    <a:pt x="0" y="94"/>
                  </a:lnTo>
                  <a:lnTo>
                    <a:pt x="8" y="94"/>
                  </a:lnTo>
                  <a:lnTo>
                    <a:pt x="20" y="94"/>
                  </a:lnTo>
                  <a:lnTo>
                    <a:pt x="34" y="94"/>
                  </a:lnTo>
                  <a:lnTo>
                    <a:pt x="48" y="88"/>
                  </a:lnTo>
                  <a:lnTo>
                    <a:pt x="60" y="70"/>
                  </a:lnTo>
                  <a:lnTo>
                    <a:pt x="76" y="60"/>
                  </a:lnTo>
                  <a:lnTo>
                    <a:pt x="88" y="60"/>
                  </a:lnTo>
                  <a:lnTo>
                    <a:pt x="100" y="60"/>
                  </a:lnTo>
                  <a:lnTo>
                    <a:pt x="114" y="42"/>
                  </a:lnTo>
                  <a:lnTo>
                    <a:pt x="126" y="42"/>
                  </a:lnTo>
                  <a:lnTo>
                    <a:pt x="142" y="42"/>
                  </a:lnTo>
                  <a:lnTo>
                    <a:pt x="154" y="50"/>
                  </a:lnTo>
                  <a:lnTo>
                    <a:pt x="170" y="50"/>
                  </a:lnTo>
                  <a:lnTo>
                    <a:pt x="182" y="50"/>
                  </a:lnTo>
                  <a:lnTo>
                    <a:pt x="198" y="50"/>
                  </a:lnTo>
                  <a:lnTo>
                    <a:pt x="210" y="42"/>
                  </a:lnTo>
                  <a:lnTo>
                    <a:pt x="202" y="28"/>
                  </a:lnTo>
                  <a:lnTo>
                    <a:pt x="202" y="10"/>
                  </a:lnTo>
                  <a:lnTo>
                    <a:pt x="214" y="10"/>
                  </a:lnTo>
                  <a:lnTo>
                    <a:pt x="230" y="10"/>
                  </a:lnTo>
                  <a:lnTo>
                    <a:pt x="242" y="10"/>
                  </a:lnTo>
                  <a:lnTo>
                    <a:pt x="256" y="0"/>
                  </a:lnTo>
                  <a:lnTo>
                    <a:pt x="270" y="10"/>
                  </a:lnTo>
                  <a:lnTo>
                    <a:pt x="282" y="16"/>
                  </a:lnTo>
                  <a:lnTo>
                    <a:pt x="278" y="16"/>
                  </a:lnTo>
                  <a:lnTo>
                    <a:pt x="296" y="36"/>
                  </a:lnTo>
                  <a:lnTo>
                    <a:pt x="296" y="54"/>
                  </a:lnTo>
                  <a:lnTo>
                    <a:pt x="308" y="54"/>
                  </a:lnTo>
                  <a:lnTo>
                    <a:pt x="324" y="62"/>
                  </a:lnTo>
                  <a:lnTo>
                    <a:pt x="336" y="72"/>
                  </a:lnTo>
                  <a:lnTo>
                    <a:pt x="348" y="72"/>
                  </a:lnTo>
                  <a:lnTo>
                    <a:pt x="356" y="88"/>
                  </a:lnTo>
                  <a:lnTo>
                    <a:pt x="370" y="88"/>
                  </a:lnTo>
                  <a:lnTo>
                    <a:pt x="376" y="106"/>
                  </a:lnTo>
                  <a:lnTo>
                    <a:pt x="390" y="124"/>
                  </a:lnTo>
                  <a:lnTo>
                    <a:pt x="404" y="132"/>
                  </a:lnTo>
                  <a:lnTo>
                    <a:pt x="404" y="148"/>
                  </a:lnTo>
                  <a:lnTo>
                    <a:pt x="404" y="166"/>
                  </a:lnTo>
                  <a:lnTo>
                    <a:pt x="416" y="182"/>
                  </a:lnTo>
                  <a:lnTo>
                    <a:pt x="430" y="192"/>
                  </a:lnTo>
                  <a:lnTo>
                    <a:pt x="436" y="210"/>
                  </a:lnTo>
                  <a:lnTo>
                    <a:pt x="442" y="226"/>
                  </a:lnTo>
                  <a:lnTo>
                    <a:pt x="458" y="244"/>
                  </a:lnTo>
                  <a:lnTo>
                    <a:pt x="470" y="244"/>
                  </a:lnTo>
                  <a:lnTo>
                    <a:pt x="484" y="234"/>
                  </a:lnTo>
                  <a:lnTo>
                    <a:pt x="502" y="208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92"/>
            <p:cNvSpPr>
              <a:spLocks/>
            </p:cNvSpPr>
            <p:nvPr/>
          </p:nvSpPr>
          <p:spPr bwMode="auto">
            <a:xfrm>
              <a:off x="2773470" y="2722222"/>
              <a:ext cx="460405" cy="846068"/>
            </a:xfrm>
            <a:custGeom>
              <a:avLst/>
              <a:gdLst>
                <a:gd name="T0" fmla="*/ 8 w 308"/>
                <a:gd name="T1" fmla="*/ 512 h 566"/>
                <a:gd name="T2" fmla="*/ 92 w 308"/>
                <a:gd name="T3" fmla="*/ 528 h 566"/>
                <a:gd name="T4" fmla="*/ 126 w 308"/>
                <a:gd name="T5" fmla="*/ 554 h 566"/>
                <a:gd name="T6" fmla="*/ 202 w 308"/>
                <a:gd name="T7" fmla="*/ 546 h 566"/>
                <a:gd name="T8" fmla="*/ 284 w 308"/>
                <a:gd name="T9" fmla="*/ 566 h 566"/>
                <a:gd name="T10" fmla="*/ 284 w 308"/>
                <a:gd name="T11" fmla="*/ 562 h 566"/>
                <a:gd name="T12" fmla="*/ 300 w 308"/>
                <a:gd name="T13" fmla="*/ 536 h 566"/>
                <a:gd name="T14" fmla="*/ 292 w 308"/>
                <a:gd name="T15" fmla="*/ 500 h 566"/>
                <a:gd name="T16" fmla="*/ 292 w 308"/>
                <a:gd name="T17" fmla="*/ 474 h 566"/>
                <a:gd name="T18" fmla="*/ 300 w 308"/>
                <a:gd name="T19" fmla="*/ 448 h 566"/>
                <a:gd name="T20" fmla="*/ 292 w 308"/>
                <a:gd name="T21" fmla="*/ 432 h 566"/>
                <a:gd name="T22" fmla="*/ 278 w 308"/>
                <a:gd name="T23" fmla="*/ 414 h 566"/>
                <a:gd name="T24" fmla="*/ 292 w 308"/>
                <a:gd name="T25" fmla="*/ 380 h 566"/>
                <a:gd name="T26" fmla="*/ 308 w 308"/>
                <a:gd name="T27" fmla="*/ 362 h 566"/>
                <a:gd name="T28" fmla="*/ 290 w 308"/>
                <a:gd name="T29" fmla="*/ 362 h 566"/>
                <a:gd name="T30" fmla="*/ 270 w 308"/>
                <a:gd name="T31" fmla="*/ 336 h 566"/>
                <a:gd name="T32" fmla="*/ 264 w 308"/>
                <a:gd name="T33" fmla="*/ 300 h 566"/>
                <a:gd name="T34" fmla="*/ 244 w 308"/>
                <a:gd name="T35" fmla="*/ 276 h 566"/>
                <a:gd name="T36" fmla="*/ 252 w 308"/>
                <a:gd name="T37" fmla="*/ 240 h 566"/>
                <a:gd name="T38" fmla="*/ 276 w 308"/>
                <a:gd name="T39" fmla="*/ 214 h 566"/>
                <a:gd name="T40" fmla="*/ 258 w 308"/>
                <a:gd name="T41" fmla="*/ 196 h 566"/>
                <a:gd name="T42" fmla="*/ 230 w 308"/>
                <a:gd name="T43" fmla="*/ 188 h 566"/>
                <a:gd name="T44" fmla="*/ 210 w 308"/>
                <a:gd name="T45" fmla="*/ 162 h 566"/>
                <a:gd name="T46" fmla="*/ 202 w 308"/>
                <a:gd name="T47" fmla="*/ 136 h 566"/>
                <a:gd name="T48" fmla="*/ 216 w 308"/>
                <a:gd name="T49" fmla="*/ 102 h 566"/>
                <a:gd name="T50" fmla="*/ 216 w 308"/>
                <a:gd name="T51" fmla="*/ 68 h 566"/>
                <a:gd name="T52" fmla="*/ 210 w 308"/>
                <a:gd name="T53" fmla="*/ 32 h 566"/>
                <a:gd name="T54" fmla="*/ 182 w 308"/>
                <a:gd name="T55" fmla="*/ 24 h 566"/>
                <a:gd name="T56" fmla="*/ 162 w 308"/>
                <a:gd name="T57" fmla="*/ 8 h 566"/>
                <a:gd name="T58" fmla="*/ 148 w 308"/>
                <a:gd name="T59" fmla="*/ 8 h 566"/>
                <a:gd name="T60" fmla="*/ 136 w 308"/>
                <a:gd name="T61" fmla="*/ 0 h 566"/>
                <a:gd name="T62" fmla="*/ 148 w 308"/>
                <a:gd name="T63" fmla="*/ 26 h 566"/>
                <a:gd name="T64" fmla="*/ 174 w 308"/>
                <a:gd name="T65" fmla="*/ 34 h 566"/>
                <a:gd name="T66" fmla="*/ 160 w 308"/>
                <a:gd name="T67" fmla="*/ 70 h 566"/>
                <a:gd name="T68" fmla="*/ 142 w 308"/>
                <a:gd name="T69" fmla="*/ 94 h 566"/>
                <a:gd name="T70" fmla="*/ 114 w 308"/>
                <a:gd name="T71" fmla="*/ 110 h 566"/>
                <a:gd name="T72" fmla="*/ 96 w 308"/>
                <a:gd name="T73" fmla="*/ 128 h 566"/>
                <a:gd name="T74" fmla="*/ 96 w 308"/>
                <a:gd name="T75" fmla="*/ 164 h 566"/>
                <a:gd name="T76" fmla="*/ 96 w 308"/>
                <a:gd name="T77" fmla="*/ 198 h 566"/>
                <a:gd name="T78" fmla="*/ 82 w 308"/>
                <a:gd name="T79" fmla="*/ 232 h 566"/>
                <a:gd name="T80" fmla="*/ 60 w 308"/>
                <a:gd name="T81" fmla="*/ 260 h 566"/>
                <a:gd name="T82" fmla="*/ 44 w 308"/>
                <a:gd name="T83" fmla="*/ 282 h 566"/>
                <a:gd name="T84" fmla="*/ 20 w 308"/>
                <a:gd name="T85" fmla="*/ 328 h 566"/>
                <a:gd name="T86" fmla="*/ 6 w 308"/>
                <a:gd name="T87" fmla="*/ 362 h 566"/>
                <a:gd name="T88" fmla="*/ 0 w 308"/>
                <a:gd name="T89" fmla="*/ 388 h 566"/>
                <a:gd name="T90" fmla="*/ 6 w 308"/>
                <a:gd name="T91" fmla="*/ 422 h 566"/>
                <a:gd name="T92" fmla="*/ 0 w 308"/>
                <a:gd name="T93" fmla="*/ 458 h 566"/>
                <a:gd name="T94" fmla="*/ 0 w 308"/>
                <a:gd name="T95" fmla="*/ 492 h 566"/>
                <a:gd name="T96" fmla="*/ 6 w 308"/>
                <a:gd name="T97" fmla="*/ 512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8" h="566">
                  <a:moveTo>
                    <a:pt x="6" y="512"/>
                  </a:moveTo>
                  <a:lnTo>
                    <a:pt x="8" y="512"/>
                  </a:lnTo>
                  <a:lnTo>
                    <a:pt x="44" y="512"/>
                  </a:lnTo>
                  <a:lnTo>
                    <a:pt x="92" y="528"/>
                  </a:lnTo>
                  <a:lnTo>
                    <a:pt x="122" y="500"/>
                  </a:lnTo>
                  <a:lnTo>
                    <a:pt x="126" y="554"/>
                  </a:lnTo>
                  <a:lnTo>
                    <a:pt x="158" y="528"/>
                  </a:lnTo>
                  <a:lnTo>
                    <a:pt x="202" y="546"/>
                  </a:lnTo>
                  <a:lnTo>
                    <a:pt x="244" y="542"/>
                  </a:lnTo>
                  <a:lnTo>
                    <a:pt x="284" y="566"/>
                  </a:lnTo>
                  <a:lnTo>
                    <a:pt x="284" y="566"/>
                  </a:lnTo>
                  <a:lnTo>
                    <a:pt x="284" y="562"/>
                  </a:lnTo>
                  <a:lnTo>
                    <a:pt x="300" y="552"/>
                  </a:lnTo>
                  <a:lnTo>
                    <a:pt x="300" y="536"/>
                  </a:lnTo>
                  <a:lnTo>
                    <a:pt x="300" y="518"/>
                  </a:lnTo>
                  <a:lnTo>
                    <a:pt x="292" y="500"/>
                  </a:lnTo>
                  <a:lnTo>
                    <a:pt x="278" y="492"/>
                  </a:lnTo>
                  <a:lnTo>
                    <a:pt x="292" y="474"/>
                  </a:lnTo>
                  <a:lnTo>
                    <a:pt x="284" y="458"/>
                  </a:lnTo>
                  <a:lnTo>
                    <a:pt x="300" y="448"/>
                  </a:lnTo>
                  <a:lnTo>
                    <a:pt x="306" y="432"/>
                  </a:lnTo>
                  <a:lnTo>
                    <a:pt x="292" y="432"/>
                  </a:lnTo>
                  <a:lnTo>
                    <a:pt x="278" y="432"/>
                  </a:lnTo>
                  <a:lnTo>
                    <a:pt x="278" y="414"/>
                  </a:lnTo>
                  <a:lnTo>
                    <a:pt x="284" y="396"/>
                  </a:lnTo>
                  <a:lnTo>
                    <a:pt x="292" y="380"/>
                  </a:lnTo>
                  <a:lnTo>
                    <a:pt x="306" y="370"/>
                  </a:lnTo>
                  <a:lnTo>
                    <a:pt x="308" y="362"/>
                  </a:lnTo>
                  <a:lnTo>
                    <a:pt x="304" y="362"/>
                  </a:lnTo>
                  <a:lnTo>
                    <a:pt x="290" y="362"/>
                  </a:lnTo>
                  <a:lnTo>
                    <a:pt x="284" y="346"/>
                  </a:lnTo>
                  <a:lnTo>
                    <a:pt x="270" y="336"/>
                  </a:lnTo>
                  <a:lnTo>
                    <a:pt x="270" y="318"/>
                  </a:lnTo>
                  <a:lnTo>
                    <a:pt x="264" y="300"/>
                  </a:lnTo>
                  <a:lnTo>
                    <a:pt x="252" y="292"/>
                  </a:lnTo>
                  <a:lnTo>
                    <a:pt x="244" y="276"/>
                  </a:lnTo>
                  <a:lnTo>
                    <a:pt x="252" y="256"/>
                  </a:lnTo>
                  <a:lnTo>
                    <a:pt x="252" y="240"/>
                  </a:lnTo>
                  <a:lnTo>
                    <a:pt x="264" y="232"/>
                  </a:lnTo>
                  <a:lnTo>
                    <a:pt x="276" y="214"/>
                  </a:lnTo>
                  <a:lnTo>
                    <a:pt x="270" y="196"/>
                  </a:lnTo>
                  <a:lnTo>
                    <a:pt x="258" y="196"/>
                  </a:lnTo>
                  <a:lnTo>
                    <a:pt x="244" y="196"/>
                  </a:lnTo>
                  <a:lnTo>
                    <a:pt x="230" y="188"/>
                  </a:lnTo>
                  <a:lnTo>
                    <a:pt x="224" y="172"/>
                  </a:lnTo>
                  <a:lnTo>
                    <a:pt x="210" y="162"/>
                  </a:lnTo>
                  <a:lnTo>
                    <a:pt x="196" y="154"/>
                  </a:lnTo>
                  <a:lnTo>
                    <a:pt x="202" y="136"/>
                  </a:lnTo>
                  <a:lnTo>
                    <a:pt x="210" y="118"/>
                  </a:lnTo>
                  <a:lnTo>
                    <a:pt x="216" y="102"/>
                  </a:lnTo>
                  <a:lnTo>
                    <a:pt x="216" y="86"/>
                  </a:lnTo>
                  <a:lnTo>
                    <a:pt x="216" y="68"/>
                  </a:lnTo>
                  <a:lnTo>
                    <a:pt x="216" y="50"/>
                  </a:lnTo>
                  <a:lnTo>
                    <a:pt x="210" y="32"/>
                  </a:lnTo>
                  <a:lnTo>
                    <a:pt x="196" y="24"/>
                  </a:lnTo>
                  <a:lnTo>
                    <a:pt x="182" y="24"/>
                  </a:lnTo>
                  <a:lnTo>
                    <a:pt x="176" y="8"/>
                  </a:lnTo>
                  <a:lnTo>
                    <a:pt x="162" y="8"/>
                  </a:lnTo>
                  <a:lnTo>
                    <a:pt x="154" y="8"/>
                  </a:lnTo>
                  <a:lnTo>
                    <a:pt x="148" y="8"/>
                  </a:lnTo>
                  <a:lnTo>
                    <a:pt x="154" y="0"/>
                  </a:lnTo>
                  <a:lnTo>
                    <a:pt x="136" y="0"/>
                  </a:lnTo>
                  <a:lnTo>
                    <a:pt x="136" y="18"/>
                  </a:lnTo>
                  <a:lnTo>
                    <a:pt x="148" y="26"/>
                  </a:lnTo>
                  <a:lnTo>
                    <a:pt x="160" y="26"/>
                  </a:lnTo>
                  <a:lnTo>
                    <a:pt x="174" y="34"/>
                  </a:lnTo>
                  <a:lnTo>
                    <a:pt x="160" y="50"/>
                  </a:lnTo>
                  <a:lnTo>
                    <a:pt x="160" y="70"/>
                  </a:lnTo>
                  <a:lnTo>
                    <a:pt x="148" y="78"/>
                  </a:lnTo>
                  <a:lnTo>
                    <a:pt x="142" y="94"/>
                  </a:lnTo>
                  <a:lnTo>
                    <a:pt x="128" y="110"/>
                  </a:lnTo>
                  <a:lnTo>
                    <a:pt x="114" y="110"/>
                  </a:lnTo>
                  <a:lnTo>
                    <a:pt x="102" y="110"/>
                  </a:lnTo>
                  <a:lnTo>
                    <a:pt x="96" y="128"/>
                  </a:lnTo>
                  <a:lnTo>
                    <a:pt x="102" y="148"/>
                  </a:lnTo>
                  <a:lnTo>
                    <a:pt x="96" y="164"/>
                  </a:lnTo>
                  <a:lnTo>
                    <a:pt x="96" y="180"/>
                  </a:lnTo>
                  <a:lnTo>
                    <a:pt x="96" y="198"/>
                  </a:lnTo>
                  <a:lnTo>
                    <a:pt x="88" y="216"/>
                  </a:lnTo>
                  <a:lnTo>
                    <a:pt x="82" y="232"/>
                  </a:lnTo>
                  <a:lnTo>
                    <a:pt x="74" y="248"/>
                  </a:lnTo>
                  <a:lnTo>
                    <a:pt x="60" y="260"/>
                  </a:lnTo>
                  <a:lnTo>
                    <a:pt x="46" y="276"/>
                  </a:lnTo>
                  <a:lnTo>
                    <a:pt x="44" y="282"/>
                  </a:lnTo>
                  <a:lnTo>
                    <a:pt x="36" y="310"/>
                  </a:lnTo>
                  <a:lnTo>
                    <a:pt x="20" y="328"/>
                  </a:lnTo>
                  <a:lnTo>
                    <a:pt x="14" y="344"/>
                  </a:lnTo>
                  <a:lnTo>
                    <a:pt x="6" y="362"/>
                  </a:lnTo>
                  <a:lnTo>
                    <a:pt x="0" y="370"/>
                  </a:lnTo>
                  <a:lnTo>
                    <a:pt x="0" y="388"/>
                  </a:lnTo>
                  <a:lnTo>
                    <a:pt x="0" y="406"/>
                  </a:lnTo>
                  <a:lnTo>
                    <a:pt x="6" y="422"/>
                  </a:lnTo>
                  <a:lnTo>
                    <a:pt x="0" y="442"/>
                  </a:lnTo>
                  <a:lnTo>
                    <a:pt x="0" y="458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6" y="510"/>
                  </a:lnTo>
                  <a:lnTo>
                    <a:pt x="6" y="512"/>
                  </a:lnTo>
                  <a:close/>
                </a:path>
              </a:pathLst>
            </a:custGeom>
            <a:solidFill>
              <a:srgbClr val="E0E0E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39" name="TextBox 138"/>
          <p:cNvSpPr txBox="1"/>
          <p:nvPr/>
        </p:nvSpPr>
        <p:spPr>
          <a:xfrm>
            <a:off x="5439223" y="3514962"/>
            <a:ext cx="1047329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pt-BR" sz="800" dirty="0" smtClean="0"/>
              <a:t>CO Campo Grande</a:t>
            </a:r>
          </a:p>
          <a:p>
            <a:pPr marL="171450" indent="-171450" algn="l">
              <a:buFont typeface="Wingdings" panose="05000000000000000000" pitchFamily="2" charset="2"/>
              <a:buChar char="ü"/>
            </a:pPr>
            <a:r>
              <a:rPr lang="pt-BR" sz="800" dirty="0" smtClean="0"/>
              <a:t>Nova Ferramenta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6933003" y="3738779"/>
            <a:ext cx="1047329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pt-BR" sz="800" dirty="0" smtClean="0"/>
              <a:t>CO Rio de Janeiro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800" dirty="0"/>
              <a:t>Nova Ferramenta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489676" y="2572953"/>
            <a:ext cx="1047329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pt-BR" sz="800" dirty="0" smtClean="0"/>
              <a:t>CO Recife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800" dirty="0"/>
              <a:t>Nova Ferrament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24490" y="4869160"/>
            <a:ext cx="7407147" cy="118069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pt-BR" sz="1200" u="sng" dirty="0" smtClean="0"/>
              <a:t>Três ondas:</a:t>
            </a:r>
          </a:p>
          <a:p>
            <a:pPr algn="l">
              <a:lnSpc>
                <a:spcPct val="150000"/>
              </a:lnSpc>
            </a:pPr>
            <a:r>
              <a:rPr lang="pt-BR" sz="1200" dirty="0" smtClean="0"/>
              <a:t>1º Desligamento do SIGO no CO Campo Grande</a:t>
            </a:r>
          </a:p>
          <a:p>
            <a:pPr algn="l">
              <a:lnSpc>
                <a:spcPct val="150000"/>
              </a:lnSpc>
            </a:pPr>
            <a:r>
              <a:rPr lang="pt-BR" sz="1200" dirty="0" smtClean="0"/>
              <a:t>2º Ampliação da nova ferramenta para CO Rio de Janeiro e CO Recife e absorção do Front-</a:t>
            </a:r>
            <a:r>
              <a:rPr lang="pt-BR" sz="1200" dirty="0" err="1" smtClean="0"/>
              <a:t>End</a:t>
            </a:r>
            <a:r>
              <a:rPr lang="pt-BR" sz="1200" dirty="0" smtClean="0"/>
              <a:t> Triagem Oi</a:t>
            </a:r>
          </a:p>
          <a:p>
            <a:pPr algn="l">
              <a:lnSpc>
                <a:spcPct val="150000"/>
              </a:lnSpc>
            </a:pPr>
            <a:r>
              <a:rPr lang="pt-BR" sz="1200" dirty="0" smtClean="0"/>
              <a:t>3º Evolução de novas funcionalidades</a:t>
            </a:r>
          </a:p>
        </p:txBody>
      </p:sp>
    </p:spTree>
    <p:extLst>
      <p:ext uri="{BB962C8B-B14F-4D97-AF65-F5344CB8AC3E}">
        <p14:creationId xmlns:p14="http://schemas.microsoft.com/office/powerpoint/2010/main" val="527946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9142809"/>
              </p:ext>
            </p:extLst>
          </p:nvPr>
        </p:nvGraphicFramePr>
        <p:xfrm>
          <a:off x="648333" y="1639888"/>
          <a:ext cx="6047903" cy="4372324"/>
        </p:xfrm>
        <a:graphic>
          <a:graphicData uri="http://schemas.openxmlformats.org/drawingml/2006/table">
            <a:tbl>
              <a:tblPr firstRow="1" lastRow="1">
                <a:tableStyleId>{5C22544A-7EE6-4342-B048-85BDC9FD1C3A}</a:tableStyleId>
              </a:tblPr>
              <a:tblGrid>
                <a:gridCol w="4847360"/>
                <a:gridCol w="120054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Célula</a:t>
                      </a:r>
                      <a:endParaRPr lang="pt-B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Licenças</a:t>
                      </a:r>
                      <a:r>
                        <a:rPr lang="pt-BR" sz="1100" baseline="0" dirty="0" smtClean="0"/>
                        <a:t> SIGO</a:t>
                      </a:r>
                      <a:endParaRPr lang="pt-BR" sz="1100" dirty="0"/>
                    </a:p>
                  </a:txBody>
                  <a:tcPr anchor="ctr"/>
                </a:tc>
              </a:tr>
              <a:tr h="256032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Suporte Geral /</a:t>
                      </a:r>
                      <a:r>
                        <a:rPr lang="pt-BR" sz="1100" baseline="0" dirty="0" smtClean="0"/>
                        <a:t> Teste final Fixo</a:t>
                      </a:r>
                      <a:endParaRPr lang="pt-B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0</a:t>
                      </a:r>
                      <a:endParaRPr lang="pt-BR" sz="1100" dirty="0"/>
                    </a:p>
                  </a:txBody>
                  <a:tcPr anchor="ctr"/>
                </a:tc>
              </a:tr>
              <a:tr h="256032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Suporte PDA</a:t>
                      </a:r>
                      <a:r>
                        <a:rPr lang="pt-BR" sz="1100" baseline="0" dirty="0" smtClean="0"/>
                        <a:t> URA</a:t>
                      </a:r>
                      <a:endParaRPr lang="pt-B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0</a:t>
                      </a:r>
                      <a:endParaRPr lang="pt-BR" sz="1100" dirty="0"/>
                    </a:p>
                  </a:txBody>
                  <a:tcPr anchor="ctr"/>
                </a:tc>
              </a:tr>
              <a:tr h="256032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Suporte Geral /</a:t>
                      </a:r>
                      <a:r>
                        <a:rPr lang="pt-BR" sz="1100" baseline="0" dirty="0" smtClean="0"/>
                        <a:t> Teste Final Velox</a:t>
                      </a:r>
                      <a:endParaRPr lang="pt-B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0</a:t>
                      </a:r>
                      <a:endParaRPr lang="pt-BR" sz="1100" dirty="0"/>
                    </a:p>
                  </a:txBody>
                  <a:tcPr anchor="ctr"/>
                </a:tc>
              </a:tr>
              <a:tr h="256032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Suporte a Rede fixo / MAT / FAC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66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56032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Suporte a Rede Velox</a:t>
                      </a:r>
                      <a:endParaRPr lang="pt-B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0</a:t>
                      </a:r>
                      <a:endParaRPr lang="pt-BR" sz="1100" dirty="0"/>
                    </a:p>
                  </a:txBody>
                  <a:tcPr anchor="ctr"/>
                </a:tc>
              </a:tr>
              <a:tr h="256032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Suporte a Rede Dados</a:t>
                      </a:r>
                      <a:endParaRPr lang="pt-B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0</a:t>
                      </a:r>
                      <a:endParaRPr lang="pt-BR" sz="1100" dirty="0"/>
                    </a:p>
                  </a:txBody>
                  <a:tcPr anchor="ctr"/>
                </a:tc>
              </a:tr>
              <a:tr h="256032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Dados</a:t>
                      </a:r>
                      <a:r>
                        <a:rPr lang="pt-BR" sz="1100" baseline="0" dirty="0" smtClean="0"/>
                        <a:t> e Voz Avançada – Ativação de TX</a:t>
                      </a:r>
                      <a:endParaRPr lang="pt-B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0</a:t>
                      </a:r>
                      <a:endParaRPr lang="pt-BR" sz="1100" dirty="0"/>
                    </a:p>
                  </a:txBody>
                  <a:tcPr anchor="ctr"/>
                </a:tc>
              </a:tr>
              <a:tr h="2560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 smtClean="0"/>
                        <a:t>Dados</a:t>
                      </a:r>
                      <a:r>
                        <a:rPr lang="pt-BR" sz="1100" baseline="0" dirty="0" smtClean="0"/>
                        <a:t> e Voz Avançada – Ativação IP Metro dados R2</a:t>
                      </a:r>
                      <a:endParaRPr lang="pt-BR" sz="11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0</a:t>
                      </a:r>
                      <a:endParaRPr lang="pt-BR" sz="1100" dirty="0"/>
                    </a:p>
                  </a:txBody>
                  <a:tcPr anchor="ctr"/>
                </a:tc>
              </a:tr>
              <a:tr h="256032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Massivo Velox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29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56032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Massivo Fixo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33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56032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Triagem Velox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294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56032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Triagem</a:t>
                      </a:r>
                      <a:r>
                        <a:rPr lang="pt-BR" sz="1100" baseline="0" dirty="0" smtClean="0"/>
                        <a:t> Fixo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153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56032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Aprovisionamento Fixo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13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62604">
                <a:tc>
                  <a:txBody>
                    <a:bodyPr/>
                    <a:lstStyle/>
                    <a:p>
                      <a:pPr algn="l"/>
                      <a:r>
                        <a:rPr lang="pt-BR" sz="1100" dirty="0" smtClean="0"/>
                        <a:t>Gestão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28</a:t>
                      </a:r>
                      <a:endParaRPr lang="pt-BR" sz="11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100" dirty="0" smtClean="0"/>
                        <a:t>616</a:t>
                      </a:r>
                      <a:endParaRPr lang="pt-BR" sz="11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 smtClean="0"/>
              <a:t>Análise das Células do CO Campo Grand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sligamento SIGO no CO Campo Grande</a:t>
            </a:r>
            <a:endParaRPr lang="de-DE" dirty="0"/>
          </a:p>
        </p:txBody>
      </p:sp>
      <p:sp>
        <p:nvSpPr>
          <p:cNvPr id="6" name="TextBox 5"/>
          <p:cNvSpPr txBox="1"/>
          <p:nvPr/>
        </p:nvSpPr>
        <p:spPr>
          <a:xfrm>
            <a:off x="634269" y="6087955"/>
            <a:ext cx="1667242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pt-BR" sz="1200" dirty="0" smtClean="0"/>
              <a:t>Dados: Agosto de 201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pt-BR" dirty="0" smtClean="0"/>
              <a:t>Arquitetura da Solução Proposta</a:t>
            </a:r>
            <a:endParaRPr lang="pt-BR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ligamento SIGO no CO Campo Grande</a:t>
            </a:r>
            <a:endParaRPr lang="pt-BR" dirty="0"/>
          </a:p>
        </p:txBody>
      </p:sp>
      <p:sp>
        <p:nvSpPr>
          <p:cNvPr id="5" name="Cloud 4"/>
          <p:cNvSpPr/>
          <p:nvPr/>
        </p:nvSpPr>
        <p:spPr bwMode="gray">
          <a:xfrm>
            <a:off x="2062399" y="2906047"/>
            <a:ext cx="402456" cy="1186962"/>
          </a:xfrm>
          <a:prstGeom prst="cloud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pt-BR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Flowchart: Magnetic Disk 5"/>
          <p:cNvSpPr/>
          <p:nvPr/>
        </p:nvSpPr>
        <p:spPr bwMode="gray">
          <a:xfrm>
            <a:off x="4978427" y="3130756"/>
            <a:ext cx="565681" cy="645966"/>
          </a:xfrm>
          <a:prstGeom prst="flowChartMagneticDisk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pt-BR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2803854"/>
            <a:ext cx="657225" cy="6572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3564469"/>
            <a:ext cx="657225" cy="65722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023" y="3599867"/>
            <a:ext cx="657225" cy="6572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4308" y="3103906"/>
            <a:ext cx="1119389" cy="818015"/>
          </a:xfrm>
          <a:prstGeom prst="rect">
            <a:avLst/>
          </a:prstGeom>
        </p:spPr>
      </p:pic>
      <p:cxnSp>
        <p:nvCxnSpPr>
          <p:cNvPr id="20" name="Straight Arrow Connector 19"/>
          <p:cNvCxnSpPr/>
          <p:nvPr/>
        </p:nvCxnSpPr>
        <p:spPr>
          <a:xfrm>
            <a:off x="691281" y="2306590"/>
            <a:ext cx="1265292" cy="1019607"/>
          </a:xfrm>
          <a:prstGeom prst="straightConnector1">
            <a:avLst/>
          </a:prstGeom>
          <a:ln w="12700"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2450343" y="3561316"/>
            <a:ext cx="274320" cy="3153"/>
          </a:xfrm>
          <a:prstGeom prst="straightConnector1">
            <a:avLst/>
          </a:prstGeom>
          <a:ln w="12700"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H="1" flipV="1">
            <a:off x="5601770" y="3514800"/>
            <a:ext cx="365760" cy="7635"/>
          </a:xfrm>
          <a:prstGeom prst="straightConnector1">
            <a:avLst/>
          </a:prstGeom>
          <a:ln w="12700"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 flipH="1">
            <a:off x="6897914" y="3509327"/>
            <a:ext cx="365760" cy="5474"/>
          </a:xfrm>
          <a:prstGeom prst="straightConnector1">
            <a:avLst/>
          </a:prstGeom>
          <a:ln w="12700"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576864" y="4093009"/>
            <a:ext cx="739552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pt-BR" sz="1200" dirty="0" smtClean="0"/>
              <a:t>SAC/STC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985099" y="4386475"/>
            <a:ext cx="848557" cy="62670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pt-BR" sz="1200" dirty="0" smtClean="0"/>
              <a:t>Servidores </a:t>
            </a:r>
          </a:p>
          <a:p>
            <a:pPr algn="ctr"/>
            <a:r>
              <a:rPr lang="pt-BR" sz="1200" dirty="0" smtClean="0"/>
              <a:t>interface</a:t>
            </a:r>
          </a:p>
          <a:p>
            <a:pPr algn="ctr"/>
            <a:r>
              <a:rPr lang="pt-BR" sz="1200" dirty="0" smtClean="0"/>
              <a:t>SAC/STC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7504" y="4528820"/>
            <a:ext cx="745964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pt-BR" sz="1200" dirty="0" smtClean="0"/>
              <a:t>Operação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813845" y="4512882"/>
            <a:ext cx="1521818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pt-BR" sz="1200" dirty="0" smtClean="0"/>
              <a:t>Cluster de servidores</a:t>
            </a:r>
          </a:p>
          <a:p>
            <a:pPr algn="ctr"/>
            <a:r>
              <a:rPr lang="pt-BR" sz="1200" dirty="0" smtClean="0"/>
              <a:t>para Front </a:t>
            </a:r>
            <a:r>
              <a:rPr lang="pt-BR" sz="1200" dirty="0" err="1"/>
              <a:t>E</a:t>
            </a:r>
            <a:r>
              <a:rPr lang="pt-BR" sz="1200" dirty="0" err="1" smtClean="0"/>
              <a:t>nd</a:t>
            </a:r>
            <a:endParaRPr lang="pt-BR" sz="1200" dirty="0" smtClean="0"/>
          </a:p>
        </p:txBody>
      </p:sp>
      <p:sp>
        <p:nvSpPr>
          <p:cNvPr id="42" name="TextBox 41"/>
          <p:cNvSpPr txBox="1"/>
          <p:nvPr/>
        </p:nvSpPr>
        <p:spPr>
          <a:xfrm>
            <a:off x="4992362" y="4320474"/>
            <a:ext cx="507116" cy="62670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pt-BR" sz="1200" dirty="0" smtClean="0"/>
              <a:t>Banco</a:t>
            </a:r>
          </a:p>
          <a:p>
            <a:pPr algn="ctr"/>
            <a:r>
              <a:rPr lang="pt-BR" sz="1200" dirty="0" smtClean="0"/>
              <a:t>de </a:t>
            </a:r>
          </a:p>
          <a:p>
            <a:pPr algn="ctr"/>
            <a:r>
              <a:rPr lang="pt-BR" sz="1200" dirty="0" smtClean="0"/>
              <a:t>dados</a:t>
            </a: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68" y="2060848"/>
            <a:ext cx="432636" cy="432636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68" y="2569665"/>
            <a:ext cx="432636" cy="432636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68" y="3089799"/>
            <a:ext cx="432636" cy="432636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68" y="4000551"/>
            <a:ext cx="432636" cy="432636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 rot="5400000">
            <a:off x="430215" y="3585529"/>
            <a:ext cx="265063" cy="349702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pt-BR" b="1" dirty="0" smtClean="0"/>
              <a:t>...</a:t>
            </a:r>
          </a:p>
        </p:txBody>
      </p:sp>
      <p:cxnSp>
        <p:nvCxnSpPr>
          <p:cNvPr id="50" name="Straight Arrow Connector 49"/>
          <p:cNvCxnSpPr>
            <a:stCxn id="44" idx="3"/>
          </p:cNvCxnSpPr>
          <p:nvPr/>
        </p:nvCxnSpPr>
        <p:spPr>
          <a:xfrm>
            <a:off x="696804" y="2785983"/>
            <a:ext cx="1253816" cy="635847"/>
          </a:xfrm>
          <a:prstGeom prst="straightConnector1">
            <a:avLst/>
          </a:prstGeom>
          <a:ln w="12700"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>
            <a:stCxn id="45" idx="3"/>
          </p:cNvCxnSpPr>
          <p:nvPr/>
        </p:nvCxnSpPr>
        <p:spPr>
          <a:xfrm>
            <a:off x="696804" y="3306117"/>
            <a:ext cx="1253816" cy="203211"/>
          </a:xfrm>
          <a:prstGeom prst="straightConnector1">
            <a:avLst/>
          </a:prstGeom>
          <a:ln w="12700"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46" idx="3"/>
          </p:cNvCxnSpPr>
          <p:nvPr/>
        </p:nvCxnSpPr>
        <p:spPr>
          <a:xfrm flipV="1">
            <a:off x="696804" y="3604961"/>
            <a:ext cx="1235519" cy="611908"/>
          </a:xfrm>
          <a:prstGeom prst="straightConnector1">
            <a:avLst/>
          </a:prstGeom>
          <a:ln w="12700"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23528" y="5205275"/>
            <a:ext cx="8532179" cy="9960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l">
              <a:buFontTx/>
              <a:buChar char="-"/>
            </a:pPr>
            <a:r>
              <a:rPr lang="pt-BR" sz="1000" dirty="0" smtClean="0"/>
              <a:t>A solução proposta necessita de infraestrutura para hospedar os processos que executam nos servidores citados acima e de um banco de dados. Serão utilizados os servidores adquiridos para migração das automações para área de OSS e 4 servidores cedidos para o CO. A configuração está descrita no slide a seguir.</a:t>
            </a:r>
          </a:p>
          <a:p>
            <a:pPr marL="171450" indent="-171450">
              <a:buFontTx/>
              <a:buChar char="-"/>
            </a:pPr>
            <a:endParaRPr lang="pt-BR" sz="1000" dirty="0" smtClean="0"/>
          </a:p>
          <a:p>
            <a:pPr marL="171450" indent="-171450">
              <a:buFontTx/>
              <a:buChar char="-"/>
            </a:pPr>
            <a:r>
              <a:rPr lang="pt-BR" sz="1000" dirty="0" smtClean="0"/>
              <a:t>As funcionalidades </a:t>
            </a:r>
            <a:r>
              <a:rPr lang="pt-BR" sz="1000" dirty="0"/>
              <a:t>do SIGO para </a:t>
            </a:r>
            <a:r>
              <a:rPr lang="pt-BR" sz="1000" dirty="0" smtClean="0"/>
              <a:t>Aprovisionamento Fixo serão </a:t>
            </a:r>
            <a:r>
              <a:rPr lang="pt-BR" sz="1000" dirty="0"/>
              <a:t>endereçadas via Ferramenta 2.0</a:t>
            </a:r>
          </a:p>
          <a:p>
            <a:pPr marL="171450" indent="-171450" algn="l">
              <a:buFontTx/>
              <a:buChar char="-"/>
            </a:pPr>
            <a:endParaRPr lang="pt-BR" sz="1000" dirty="0" smtClean="0"/>
          </a:p>
        </p:txBody>
      </p:sp>
      <p:sp>
        <p:nvSpPr>
          <p:cNvPr id="13" name="Rounded Rectangle 12"/>
          <p:cNvSpPr/>
          <p:nvPr/>
        </p:nvSpPr>
        <p:spPr bwMode="gray">
          <a:xfrm>
            <a:off x="2699792" y="2717442"/>
            <a:ext cx="864096" cy="1524923"/>
          </a:xfrm>
          <a:prstGeom prst="roundRect">
            <a:avLst/>
          </a:prstGeom>
          <a:solidFill>
            <a:schemeClr val="bg1">
              <a:lumMod val="95000"/>
              <a:alpha val="40000"/>
            </a:schemeClr>
          </a:solidFill>
          <a:ln w="6350">
            <a:solidFill>
              <a:schemeClr val="bg1">
                <a:lumMod val="65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771" y="2699767"/>
            <a:ext cx="657225" cy="657225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7924" y="3779887"/>
            <a:ext cx="657225" cy="657225"/>
          </a:xfrm>
          <a:prstGeom prst="rect">
            <a:avLst/>
          </a:prstGeom>
        </p:spPr>
      </p:pic>
      <p:cxnSp>
        <p:nvCxnSpPr>
          <p:cNvPr id="36" name="Straight Arrow Connector 35"/>
          <p:cNvCxnSpPr/>
          <p:nvPr/>
        </p:nvCxnSpPr>
        <p:spPr>
          <a:xfrm flipV="1">
            <a:off x="3626824" y="3019754"/>
            <a:ext cx="260573" cy="339059"/>
          </a:xfrm>
          <a:prstGeom prst="straightConnector1">
            <a:avLst/>
          </a:prstGeom>
          <a:ln w="12700"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 flipV="1">
            <a:off x="4492947" y="3679529"/>
            <a:ext cx="260573" cy="339059"/>
          </a:xfrm>
          <a:prstGeom prst="straightConnector1">
            <a:avLst/>
          </a:prstGeom>
          <a:ln w="12700"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4535996" y="3102586"/>
            <a:ext cx="320975" cy="300358"/>
          </a:xfrm>
          <a:prstGeom prst="straightConnector1">
            <a:avLst/>
          </a:prstGeom>
          <a:ln w="12700"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>
            <a:off x="3640472" y="3855963"/>
            <a:ext cx="238299" cy="289774"/>
          </a:xfrm>
          <a:prstGeom prst="straightConnector1">
            <a:avLst/>
          </a:prstGeom>
          <a:ln w="12700">
            <a:solidFill>
              <a:schemeClr val="tx2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6" y="2771775"/>
            <a:ext cx="657225" cy="657225"/>
          </a:xfrm>
          <a:prstGeom prst="rect">
            <a:avLst/>
          </a:prstGeom>
        </p:spPr>
      </p:pic>
      <p:sp>
        <p:nvSpPr>
          <p:cNvPr id="60" name="Rounded Rectangle 59"/>
          <p:cNvSpPr/>
          <p:nvPr/>
        </p:nvSpPr>
        <p:spPr bwMode="gray">
          <a:xfrm>
            <a:off x="6012160" y="2732169"/>
            <a:ext cx="864096" cy="1524923"/>
          </a:xfrm>
          <a:prstGeom prst="roundRect">
            <a:avLst/>
          </a:prstGeom>
          <a:solidFill>
            <a:schemeClr val="bg1">
              <a:lumMod val="95000"/>
              <a:alpha val="30000"/>
            </a:schemeClr>
          </a:solidFill>
          <a:ln w="6350">
            <a:solidFill>
              <a:schemeClr val="bg1">
                <a:lumMod val="65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385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8313" y="1640438"/>
            <a:ext cx="8203443" cy="4741311"/>
          </a:xfrm>
        </p:spPr>
        <p:txBody>
          <a:bodyPr/>
          <a:lstStyle/>
          <a:p>
            <a:r>
              <a:rPr lang="pt-BR" sz="1400" dirty="0" smtClean="0"/>
              <a:t>Cluster de Servidores para Front </a:t>
            </a:r>
            <a:r>
              <a:rPr lang="pt-BR" sz="1400" dirty="0" err="1" smtClean="0"/>
              <a:t>End</a:t>
            </a:r>
            <a:endParaRPr lang="pt-BR" sz="1400" dirty="0" smtClean="0"/>
          </a:p>
          <a:p>
            <a:pPr lvl="1"/>
            <a:r>
              <a:rPr lang="pt-BR" sz="1200" dirty="0" smtClean="0"/>
              <a:t>Configuração: </a:t>
            </a:r>
          </a:p>
          <a:p>
            <a:pPr lvl="2"/>
            <a:r>
              <a:rPr lang="pt-BR" sz="1100" dirty="0"/>
              <a:t>4</a:t>
            </a:r>
            <a:r>
              <a:rPr lang="pt-BR" sz="1100" dirty="0" smtClean="0"/>
              <a:t> </a:t>
            </a:r>
            <a:r>
              <a:rPr lang="pt-BR" sz="1100" dirty="0"/>
              <a:t>servidores Dual CORE INTEL(R) XEON(R) CPU L5520 @ 2.27GHZ, com 64 GB memória RAM e 200 GB de </a:t>
            </a:r>
            <a:r>
              <a:rPr lang="pt-BR" sz="1100" dirty="0" smtClean="0"/>
              <a:t>HD</a:t>
            </a:r>
            <a:r>
              <a:rPr lang="pt-BR" sz="1100" baseline="30000" dirty="0" smtClean="0"/>
              <a:t> (1)</a:t>
            </a:r>
            <a:endParaRPr lang="pt-BR" sz="1100" baseline="30000" dirty="0"/>
          </a:p>
          <a:p>
            <a:pPr lvl="1"/>
            <a:r>
              <a:rPr lang="pt-BR" sz="1200" dirty="0" smtClean="0"/>
              <a:t>Software:</a:t>
            </a:r>
          </a:p>
          <a:p>
            <a:pPr lvl="2"/>
            <a:r>
              <a:rPr lang="pt-BR" sz="1100" dirty="0" smtClean="0"/>
              <a:t>Linux </a:t>
            </a:r>
            <a:r>
              <a:rPr lang="pt-BR" sz="1100" dirty="0" err="1" smtClean="0"/>
              <a:t>CentOS</a:t>
            </a:r>
            <a:r>
              <a:rPr lang="pt-BR" sz="1100" baseline="30000" dirty="0" smtClean="0"/>
              <a:t> (2)</a:t>
            </a:r>
          </a:p>
          <a:p>
            <a:pPr lvl="2"/>
            <a:r>
              <a:rPr lang="pt-BR" sz="1100" dirty="0" smtClean="0"/>
              <a:t>Java</a:t>
            </a:r>
            <a:r>
              <a:rPr lang="pt-BR" sz="1100" dirty="0" smtClean="0">
                <a:solidFill>
                  <a:srgbClr val="FF0000"/>
                </a:solidFill>
              </a:rPr>
              <a:t>(Node JS)</a:t>
            </a:r>
            <a:r>
              <a:rPr lang="pt-BR" sz="1100" dirty="0" smtClean="0"/>
              <a:t> </a:t>
            </a:r>
            <a:r>
              <a:rPr lang="pt-BR" sz="1100" baseline="30000" dirty="0" smtClean="0"/>
              <a:t>(2)</a:t>
            </a:r>
            <a:endParaRPr lang="pt-BR" sz="1100" baseline="30000" dirty="0" smtClean="0"/>
          </a:p>
          <a:p>
            <a:pPr lvl="2"/>
            <a:r>
              <a:rPr lang="pt-BR" sz="1100" dirty="0" err="1" smtClean="0"/>
              <a:t>Client</a:t>
            </a:r>
            <a:r>
              <a:rPr lang="pt-BR" sz="1100" dirty="0" smtClean="0"/>
              <a:t> do Oracle e do </a:t>
            </a:r>
            <a:r>
              <a:rPr lang="pt-BR" sz="1100" dirty="0" smtClean="0"/>
              <a:t>MySQL</a:t>
            </a:r>
            <a:r>
              <a:rPr lang="pt-BR" sz="1100" dirty="0" smtClean="0">
                <a:solidFill>
                  <a:srgbClr val="FF0000"/>
                </a:solidFill>
              </a:rPr>
              <a:t>(Oracle 12c)</a:t>
            </a:r>
            <a:r>
              <a:rPr lang="pt-BR" sz="1100" baseline="30000" dirty="0" smtClean="0"/>
              <a:t> </a:t>
            </a:r>
            <a:r>
              <a:rPr lang="pt-BR" sz="1100" baseline="30000" dirty="0"/>
              <a:t>(2</a:t>
            </a:r>
            <a:r>
              <a:rPr lang="pt-BR" sz="1100" baseline="30000" dirty="0" smtClean="0"/>
              <a:t>)</a:t>
            </a:r>
            <a:endParaRPr lang="pt-BR" sz="1100" baseline="30000" dirty="0" smtClean="0"/>
          </a:p>
          <a:p>
            <a:pPr lvl="2"/>
            <a:r>
              <a:rPr lang="pt-BR" sz="1100" dirty="0" smtClean="0"/>
              <a:t>Servidor de aplicação Web (</a:t>
            </a:r>
            <a:r>
              <a:rPr lang="pt-BR" sz="1100" dirty="0" err="1" smtClean="0">
                <a:solidFill>
                  <a:srgbClr val="FF0000"/>
                </a:solidFill>
              </a:rPr>
              <a:t>Tomcat</a:t>
            </a:r>
            <a:r>
              <a:rPr lang="pt-BR" sz="1100" dirty="0" smtClean="0"/>
              <a:t>, Apache, </a:t>
            </a:r>
            <a:r>
              <a:rPr lang="pt-BR" sz="1100" dirty="0" err="1" smtClean="0"/>
              <a:t>Glassfish</a:t>
            </a:r>
            <a:r>
              <a:rPr lang="pt-BR" sz="1100" dirty="0" smtClean="0"/>
              <a:t> ou similar)</a:t>
            </a:r>
            <a:r>
              <a:rPr lang="pt-BR" sz="1100" baseline="30000" dirty="0" smtClean="0"/>
              <a:t> </a:t>
            </a:r>
            <a:r>
              <a:rPr lang="pt-BR" sz="1100" baseline="30000" dirty="0"/>
              <a:t>(2)</a:t>
            </a:r>
          </a:p>
          <a:p>
            <a:pPr marL="444500" lvl="2" indent="0">
              <a:buNone/>
            </a:pPr>
            <a:endParaRPr lang="pt-BR" sz="1100" baseline="30000" dirty="0" smtClean="0"/>
          </a:p>
          <a:p>
            <a:r>
              <a:rPr lang="pt-BR" sz="1400" dirty="0" smtClean="0"/>
              <a:t>Servidor </a:t>
            </a:r>
            <a:r>
              <a:rPr lang="pt-BR" sz="1400" dirty="0"/>
              <a:t>para interface com o SAC/STC</a:t>
            </a:r>
            <a:endParaRPr lang="pt-BR" sz="1400" dirty="0" smtClean="0"/>
          </a:p>
          <a:p>
            <a:pPr lvl="1"/>
            <a:r>
              <a:rPr lang="pt-BR" sz="1200" dirty="0" smtClean="0"/>
              <a:t>Serão utilizados os mesmos servidores utilizados para as automações da R1</a:t>
            </a:r>
          </a:p>
          <a:p>
            <a:pPr lvl="1"/>
            <a:endParaRPr lang="pt-BR" sz="1200" dirty="0"/>
          </a:p>
          <a:p>
            <a:r>
              <a:rPr lang="pt-BR" sz="1400" dirty="0" smtClean="0"/>
              <a:t>Banco de Dados:</a:t>
            </a:r>
          </a:p>
          <a:p>
            <a:pPr lvl="1"/>
            <a:r>
              <a:rPr lang="pt-BR" sz="1200" dirty="0" smtClean="0"/>
              <a:t>Utilização do banco de automação (OSS), com aumento em 50% do espaço atual do banco </a:t>
            </a:r>
            <a:r>
              <a:rPr lang="pt-BR" sz="1200" baseline="30000" dirty="0" smtClean="0"/>
              <a:t>(3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pt-BR" dirty="0" smtClean="0"/>
              <a:t>Infraestrutura necessária</a:t>
            </a:r>
            <a:endParaRPr lang="pt-BR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ligamento SIGO no CO Campo Grande</a:t>
            </a:r>
            <a:endParaRPr lang="pt-BR" dirty="0"/>
          </a:p>
        </p:txBody>
      </p:sp>
      <p:sp>
        <p:nvSpPr>
          <p:cNvPr id="9" name="TextBox 8"/>
          <p:cNvSpPr txBox="1"/>
          <p:nvPr/>
        </p:nvSpPr>
        <p:spPr>
          <a:xfrm>
            <a:off x="467544" y="5697252"/>
            <a:ext cx="4349515" cy="534368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228600" indent="-228600">
              <a:buAutoNum type="arabicParenBoth"/>
            </a:pPr>
            <a:r>
              <a:rPr lang="pt-BR" sz="1000" dirty="0"/>
              <a:t>Servidores já existentes sob a gestão do </a:t>
            </a:r>
            <a:r>
              <a:rPr lang="pt-BR" sz="1000" dirty="0" smtClean="0"/>
              <a:t>CGR e reservados para o CO.</a:t>
            </a:r>
          </a:p>
          <a:p>
            <a:pPr marL="228600" indent="-228600" algn="l">
              <a:buAutoNum type="arabicParenBoth"/>
            </a:pPr>
            <a:r>
              <a:rPr lang="pt-BR" sz="1000" dirty="0" smtClean="0"/>
              <a:t>Software sem custo de licença</a:t>
            </a:r>
          </a:p>
          <a:p>
            <a:pPr marL="228600" indent="-228600" algn="l">
              <a:buAutoNum type="arabicParenBoth"/>
            </a:pPr>
            <a:r>
              <a:rPr lang="pt-BR" sz="1000" dirty="0" smtClean="0"/>
              <a:t>Alinhamento já realizado com CGR</a:t>
            </a:r>
          </a:p>
        </p:txBody>
      </p:sp>
    </p:spTree>
    <p:extLst>
      <p:ext uri="{BB962C8B-B14F-4D97-AF65-F5344CB8AC3E}">
        <p14:creationId xmlns:p14="http://schemas.microsoft.com/office/powerpoint/2010/main" val="1087147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6316082"/>
              </p:ext>
            </p:extLst>
          </p:nvPr>
        </p:nvGraphicFramePr>
        <p:xfrm>
          <a:off x="468313" y="1664804"/>
          <a:ext cx="3491619" cy="382105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39391"/>
                <a:gridCol w="2052228"/>
              </a:tblGrid>
              <a:tr h="19009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050" u="none" strike="noStrike" dirty="0">
                          <a:effectLst/>
                          <a:latin typeface="+mn-lt"/>
                        </a:rPr>
                        <a:t>Célula</a:t>
                      </a:r>
                      <a:endParaRPr lang="pt-BR" sz="105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50" u="none" strike="noStrike" dirty="0">
                          <a:effectLst/>
                          <a:latin typeface="+mn-lt"/>
                        </a:rPr>
                        <a:t>Funcionalidade</a:t>
                      </a:r>
                      <a:endParaRPr lang="pt-BR" sz="105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81548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pt-BR" sz="1050" u="none" strike="noStrike" dirty="0">
                          <a:effectLst/>
                          <a:latin typeface="+mn-lt"/>
                        </a:rPr>
                        <a:t>Triagem Velox</a:t>
                      </a:r>
                      <a:endParaRPr lang="pt-BR" sz="105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Coleta BD no SGFT/SAC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Atualização SGFT/SAC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Coleta SIAC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Teste </a:t>
                      </a:r>
                      <a:r>
                        <a:rPr lang="pt-BR" sz="1000" u="none" strike="noStrike" dirty="0" err="1">
                          <a:effectLst/>
                          <a:latin typeface="+mn-lt"/>
                        </a:rPr>
                        <a:t>Assia</a:t>
                      </a:r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pt-BR" sz="1000" u="none" strike="noStrike" dirty="0" err="1">
                          <a:effectLst/>
                          <a:latin typeface="+mn-lt"/>
                        </a:rPr>
                        <a:t>on</a:t>
                      </a:r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pt-BR" sz="1000" u="none" strike="noStrike" dirty="0" err="1">
                          <a:effectLst/>
                          <a:latin typeface="+mn-lt"/>
                        </a:rPr>
                        <a:t>line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Teste </a:t>
                      </a:r>
                      <a:r>
                        <a:rPr lang="pt-BR" sz="1000" u="none" strike="noStrike" dirty="0" err="1">
                          <a:effectLst/>
                          <a:latin typeface="+mn-lt"/>
                        </a:rPr>
                        <a:t>Assia</a:t>
                      </a:r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 batch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Relatórios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Gestão de Fila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 err="1">
                          <a:effectLst/>
                          <a:latin typeface="+mn-lt"/>
                        </a:rPr>
                        <a:t>Perfilamento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Massivo BD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Massivo SIAC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pt-BR" sz="1050" u="none" strike="noStrike" dirty="0">
                          <a:effectLst/>
                          <a:latin typeface="+mn-lt"/>
                        </a:rPr>
                        <a:t>Triagem </a:t>
                      </a:r>
                      <a:r>
                        <a:rPr lang="pt-BR" sz="1050" u="none" strike="noStrike" dirty="0" smtClean="0">
                          <a:effectLst/>
                          <a:latin typeface="+mn-lt"/>
                        </a:rPr>
                        <a:t>+ Suporte Avançado Fixo</a:t>
                      </a:r>
                      <a:endParaRPr lang="pt-BR" sz="105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Coleta SAC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Atualização SAC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Coleta SIAC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Teste </a:t>
                      </a:r>
                      <a:r>
                        <a:rPr lang="pt-BR" sz="1000" u="none" strike="noStrike" dirty="0" err="1">
                          <a:effectLst/>
                          <a:latin typeface="+mn-lt"/>
                        </a:rPr>
                        <a:t>Masc</a:t>
                      </a:r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 batch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Teste </a:t>
                      </a:r>
                      <a:r>
                        <a:rPr lang="pt-BR" sz="1000" u="none" strike="noStrike" dirty="0" err="1">
                          <a:effectLst/>
                          <a:latin typeface="+mn-lt"/>
                        </a:rPr>
                        <a:t>Masc</a:t>
                      </a:r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 online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Relatórios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Gestão de Fila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 err="1">
                          <a:effectLst/>
                          <a:latin typeface="+mn-lt"/>
                        </a:rPr>
                        <a:t>Perfilamento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Massivo BD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8154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u="none" strike="noStrike" dirty="0">
                          <a:effectLst/>
                          <a:latin typeface="+mn-lt"/>
                        </a:rPr>
                        <a:t>Massivo SIAC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pt-BR" dirty="0" smtClean="0"/>
              <a:t>Detalhamento das funcionalidades do SIGO utilizadas no CO CG</a:t>
            </a:r>
            <a:endParaRPr lang="pt-BR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ligamento SIGO no CO Campo Grande</a:t>
            </a:r>
            <a:endParaRPr lang="pt-BR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551555"/>
              </p:ext>
            </p:extLst>
          </p:nvPr>
        </p:nvGraphicFramePr>
        <p:xfrm>
          <a:off x="4624908" y="1664804"/>
          <a:ext cx="3547492" cy="300823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3418"/>
                <a:gridCol w="1854074"/>
              </a:tblGrid>
              <a:tr h="20932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050" b="1" u="none" strike="noStrike" dirty="0">
                          <a:effectLst/>
                          <a:latin typeface="+mn-lt"/>
                        </a:rPr>
                        <a:t>Célula</a:t>
                      </a:r>
                      <a:endParaRPr lang="pt-BR" sz="1050" b="1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50" b="1" u="none" strike="noStrike" dirty="0">
                          <a:effectLst/>
                          <a:latin typeface="+mn-lt"/>
                        </a:rPr>
                        <a:t>Funcionalidade</a:t>
                      </a:r>
                      <a:endParaRPr lang="pt-BR" sz="1050" b="1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pt-BR" sz="1050" b="1" u="none" strike="noStrike" dirty="0">
                          <a:effectLst/>
                          <a:latin typeface="+mn-lt"/>
                        </a:rPr>
                        <a:t>Suporte a Rede </a:t>
                      </a:r>
                      <a:r>
                        <a:rPr lang="pt-BR" sz="1050" b="1" u="none" strike="noStrike" dirty="0" smtClean="0">
                          <a:effectLst/>
                          <a:latin typeface="+mn-lt"/>
                        </a:rPr>
                        <a:t>Fixo</a:t>
                      </a:r>
                      <a:endParaRPr lang="pt-BR" sz="1050" b="1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u="none" strike="noStrike">
                          <a:effectLst/>
                          <a:latin typeface="+mn-lt"/>
                        </a:rPr>
                        <a:t>Masc Programação</a:t>
                      </a:r>
                      <a:endParaRPr lang="pt-BR" sz="1000" b="0" i="0" u="none" strike="noStrike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vMerge="1">
                  <a:txBody>
                    <a:bodyPr/>
                    <a:lstStyle/>
                    <a:p>
                      <a:pPr algn="ctr" fontAlgn="ctr"/>
                      <a:endParaRPr lang="pt-BR" sz="1100" b="1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u="none" strike="noStrike">
                          <a:effectLst/>
                          <a:latin typeface="+mn-lt"/>
                        </a:rPr>
                        <a:t>Coleta SAC</a:t>
                      </a:r>
                      <a:endParaRPr lang="pt-BR" sz="1000" b="0" i="0" u="none" strike="noStrike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u="none" strike="noStrike" dirty="0">
                          <a:effectLst/>
                          <a:latin typeface="+mn-lt"/>
                        </a:rPr>
                        <a:t>Atualização SAC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u="none" strike="noStrike" dirty="0">
                          <a:effectLst/>
                          <a:latin typeface="+mn-lt"/>
                        </a:rPr>
                        <a:t>Coleta SIAC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u="none" strike="noStrike" dirty="0">
                          <a:effectLst/>
                          <a:latin typeface="+mn-lt"/>
                        </a:rPr>
                        <a:t>Teste </a:t>
                      </a:r>
                      <a:r>
                        <a:rPr lang="pt-BR" sz="1000" b="0" u="none" strike="noStrike" dirty="0" err="1">
                          <a:effectLst/>
                          <a:latin typeface="+mn-lt"/>
                        </a:rPr>
                        <a:t>Masc</a:t>
                      </a:r>
                      <a:r>
                        <a:rPr lang="pt-BR" sz="1000" b="0" u="none" strike="noStrike" dirty="0">
                          <a:effectLst/>
                          <a:latin typeface="+mn-lt"/>
                        </a:rPr>
                        <a:t> batch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u="none" strike="noStrike" dirty="0">
                          <a:effectLst/>
                          <a:latin typeface="+mn-lt"/>
                        </a:rPr>
                        <a:t>Teste </a:t>
                      </a:r>
                      <a:r>
                        <a:rPr lang="pt-BR" sz="1000" b="0" u="none" strike="noStrike" dirty="0" err="1">
                          <a:effectLst/>
                          <a:latin typeface="+mn-lt"/>
                        </a:rPr>
                        <a:t>Masc</a:t>
                      </a:r>
                      <a:r>
                        <a:rPr lang="pt-BR" sz="1000" b="0" u="none" strike="noStrike" dirty="0">
                          <a:effectLst/>
                          <a:latin typeface="+mn-lt"/>
                        </a:rPr>
                        <a:t> online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u="none" strike="noStrike" dirty="0">
                          <a:effectLst/>
                          <a:latin typeface="+mn-lt"/>
                        </a:rPr>
                        <a:t>Relatórios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u="none" strike="noStrike" dirty="0">
                          <a:effectLst/>
                          <a:latin typeface="+mn-lt"/>
                        </a:rPr>
                        <a:t>Gestão de Fila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u="none" strike="noStrike" dirty="0" err="1">
                          <a:effectLst/>
                          <a:latin typeface="+mn-lt"/>
                        </a:rPr>
                        <a:t>Perfilamento</a:t>
                      </a:r>
                      <a:endParaRPr lang="pt-BR" sz="1000" b="0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pt-BR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provisionamento Fixo</a:t>
                      </a:r>
                      <a:endParaRPr lang="pt-BR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sc</a:t>
                      </a:r>
                      <a:r>
                        <a:rPr lang="pt-B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Programação</a:t>
                      </a:r>
                      <a:endParaRPr lang="pt-BR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vMerge="1">
                  <a:txBody>
                    <a:bodyPr/>
                    <a:lstStyle/>
                    <a:p>
                      <a:pPr algn="ctr" fontAlgn="ctr"/>
                      <a:endParaRPr lang="pt-BR" sz="1100" b="1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leta de OS no SAC</a:t>
                      </a:r>
                      <a:endParaRPr lang="pt-BR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vMerge="1">
                  <a:txBody>
                    <a:bodyPr/>
                    <a:lstStyle/>
                    <a:p>
                      <a:pPr algn="ctr" fontAlgn="ctr"/>
                      <a:endParaRPr lang="pt-BR" sz="1100" b="1" i="0" u="none" strike="noStrike" dirty="0">
                        <a:solidFill>
                          <a:srgbClr val="37464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estão de fila</a:t>
                      </a:r>
                      <a:endParaRPr lang="pt-BR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vMerge="1">
                  <a:txBody>
                    <a:bodyPr/>
                    <a:lstStyle/>
                    <a:p>
                      <a:pPr algn="ctr" fontAlgn="ctr"/>
                      <a:endParaRPr lang="pt-BR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figuração</a:t>
                      </a:r>
                      <a:r>
                        <a:rPr lang="pt-B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Terminal</a:t>
                      </a:r>
                      <a:endParaRPr lang="pt-BR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9922">
                <a:tc vMerge="1">
                  <a:txBody>
                    <a:bodyPr/>
                    <a:lstStyle/>
                    <a:p>
                      <a:pPr algn="ctr" fontAlgn="ctr"/>
                      <a:endParaRPr lang="pt-BR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latórios</a:t>
                      </a:r>
                      <a:endParaRPr lang="pt-BR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68313" y="5521588"/>
            <a:ext cx="7704087" cy="1012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l">
              <a:lnSpc>
                <a:spcPct val="150000"/>
              </a:lnSpc>
              <a:buFontTx/>
              <a:buChar char="-"/>
            </a:pPr>
            <a:r>
              <a:rPr lang="pt-BR" sz="1000" dirty="0" smtClean="0"/>
              <a:t>Esta lista pode ser revisitada durante a etapa de especificação funcional.</a:t>
            </a: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pt-BR" sz="1000" dirty="0"/>
              <a:t>Além das funcionalidades do SIGO, também serão incluídas as funcionalidades do front </a:t>
            </a:r>
            <a:r>
              <a:rPr lang="pt-BR" sz="1000" dirty="0" err="1"/>
              <a:t>end</a:t>
            </a:r>
            <a:r>
              <a:rPr lang="pt-BR" sz="1000" dirty="0"/>
              <a:t> da Oi desenvolvido para a Triagem </a:t>
            </a:r>
            <a:r>
              <a:rPr lang="pt-BR" sz="1000" dirty="0" smtClean="0"/>
              <a:t>Velox, assim como as melhorias indicadas em tempo de especificação funcional;</a:t>
            </a: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pt-BR" sz="1000" dirty="0" smtClean="0"/>
              <a:t>Funcionalidades do TAP não estão contempladas nesta proposta</a:t>
            </a:r>
          </a:p>
        </p:txBody>
      </p:sp>
    </p:spTree>
    <p:extLst>
      <p:ext uri="{BB962C8B-B14F-4D97-AF65-F5344CB8AC3E}">
        <p14:creationId xmlns:p14="http://schemas.microsoft.com/office/powerpoint/2010/main" val="410526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  <p:tag name="ACCENTFARBEEXIST" val="0"/>
  <p:tag name="VERSION" val="V8.3"/>
  <p:tag name="VORLAGE" val="QPT_Water_Bubble"/>
  <p:tag name="GROESSE" val="Standard"/>
  <p:tag name="AGENDAHEIGHT" val="373.3316"/>
  <p:tag name="PAGENUMB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Management Consulting Accordian Leafes">
  <a:themeElements>
    <a:clrScheme name="WaterBubble3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00BBEE"/>
      </a:accent1>
      <a:accent2>
        <a:srgbClr val="359B4C"/>
      </a:accent2>
      <a:accent3>
        <a:srgbClr val="FF9900"/>
      </a:accent3>
      <a:accent4>
        <a:srgbClr val="EEAA55"/>
      </a:accent4>
      <a:accent5>
        <a:srgbClr val="FF0000"/>
      </a:accent5>
      <a:accent6>
        <a:srgbClr val="00BBEE"/>
      </a:accent6>
      <a:hlink>
        <a:srgbClr val="FF9900"/>
      </a:hlink>
      <a:folHlink>
        <a:srgbClr val="551155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13675A2DC3FD848A850D8AE75E4FCEE" ma:contentTypeVersion="3" ma:contentTypeDescription="Crie um novo documento." ma:contentTypeScope="" ma:versionID="7686bb03bff1881aea49f28c6bf03d1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07A46C3-1091-4701-98D2-8097C4F355FA}"/>
</file>

<file path=customXml/itemProps2.xml><?xml version="1.0" encoding="utf-8"?>
<ds:datastoreItem xmlns:ds="http://schemas.openxmlformats.org/officeDocument/2006/customXml" ds:itemID="{28F1BB1B-F8BD-4151-8578-74A74C5D3735}"/>
</file>

<file path=customXml/itemProps3.xml><?xml version="1.0" encoding="utf-8"?>
<ds:datastoreItem xmlns:ds="http://schemas.openxmlformats.org/officeDocument/2006/customXml" ds:itemID="{3AAEB527-E773-470D-AEDD-322C9A8B3227}"/>
</file>

<file path=docProps/app.xml><?xml version="1.0" encoding="utf-8"?>
<Properties xmlns="http://schemas.openxmlformats.org/officeDocument/2006/extended-properties" xmlns:vt="http://schemas.openxmlformats.org/officeDocument/2006/docPropsVTypes">
  <Template>Presentation.pot</Template>
  <TotalTime>12908</TotalTime>
  <Words>742</Words>
  <Application>Microsoft Office PowerPoint</Application>
  <PresentationFormat>Apresentação na tela (4:3)</PresentationFormat>
  <Paragraphs>158</Paragraphs>
  <Slides>7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7</vt:i4>
      </vt:variant>
    </vt:vector>
  </HeadingPairs>
  <TitlesOfParts>
    <vt:vector size="9" baseType="lpstr">
      <vt:lpstr>Accenture Management Consulting Accordian Leafes</vt:lpstr>
      <vt:lpstr>think-cell Slide</vt:lpstr>
      <vt:lpstr>Análise SIGO</vt:lpstr>
      <vt:lpstr>Análise do Problema</vt:lpstr>
      <vt:lpstr>Análise do Problema</vt:lpstr>
      <vt:lpstr>Desligamento SIGO no CO Campo Grande</vt:lpstr>
      <vt:lpstr>Desligamento SIGO no CO Campo Grande</vt:lpstr>
      <vt:lpstr>Desligamento SIGO no CO Campo Grande</vt:lpstr>
      <vt:lpstr>Desligamento SIGO no CO Campo Grande</vt:lpstr>
    </vt:vector>
  </TitlesOfParts>
  <Manager/>
  <Company>Accen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ise SIGO</dc:title>
  <dc:subject/>
  <dc:creator>Cunha, Pablo Salino</dc:creator>
  <dc:description>Accenture</dc:description>
  <cp:lastModifiedBy>profile</cp:lastModifiedBy>
  <cp:revision>166</cp:revision>
  <dcterms:created xsi:type="dcterms:W3CDTF">2009-07-22T06:53:27Z</dcterms:created>
  <dcterms:modified xsi:type="dcterms:W3CDTF">2016-04-07T21:00:5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3675A2DC3FD848A850D8AE75E4FCEE</vt:lpwstr>
  </property>
</Properties>
</file>